
<file path=[Content_Types].xml><?xml version="1.0" encoding="utf-8"?>
<Types xmlns="http://schemas.openxmlformats.org/package/2006/content-types"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Default Extension="xlsx" ContentType="application/vnd.openxmlformats-officedocument.spreadsheetml.sheet"/>
  <Override PartName="/ppt/diagrams/layout1.xml" ContentType="application/vnd.openxmlformats-officedocument.drawingml.diagramLayout+xml"/>
  <Override PartName="/ppt/charts/chart3.xml" ContentType="application/vnd.openxmlformats-officedocument.drawingml.chart+xml"/>
  <Override PartName="/ppt/diagrams/data2.xml" ContentType="application/vnd.openxmlformats-officedocument.drawingml.diagramData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layout2.xml" ContentType="application/vnd.openxmlformats-officedocument.drawingml.diagramLayout+xml"/>
  <Override PartName="/ppt/charts/chart6.xml" ContentType="application/vnd.openxmlformats-officedocument.drawingml.char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32.xml" ContentType="application/vnd.openxmlformats-officedocument.presentationml.tag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diagrams/drawing1.xml" ContentType="application/vnd.ms-office.drawingml.diagramDrawing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7"/>
  </p:notesMasterIdLst>
  <p:handoutMasterIdLst>
    <p:handoutMasterId r:id="rId18"/>
  </p:handoutMasterIdLst>
  <p:sldIdLst>
    <p:sldId id="257" r:id="rId2"/>
    <p:sldId id="260" r:id="rId3"/>
    <p:sldId id="259" r:id="rId4"/>
    <p:sldId id="262" r:id="rId5"/>
    <p:sldId id="261" r:id="rId6"/>
    <p:sldId id="264" r:id="rId7"/>
    <p:sldId id="265" r:id="rId8"/>
    <p:sldId id="266" r:id="rId9"/>
    <p:sldId id="267" r:id="rId10"/>
    <p:sldId id="268" r:id="rId11"/>
    <p:sldId id="269" r:id="rId12"/>
    <p:sldId id="270" r:id="rId13"/>
    <p:sldId id="271" r:id="rId14"/>
    <p:sldId id="273" r:id="rId15"/>
    <p:sldId id="272" r:id="rId16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66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4" d="100"/>
          <a:sy n="74" d="100"/>
        </p:scale>
        <p:origin x="-108" y="-6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5" d="100"/>
          <a:sy n="85" d="100"/>
        </p:scale>
        <p:origin x="-3834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2"/>
  <c:chart>
    <c:plotArea>
      <c:layout>
        <c:manualLayout>
          <c:layoutTarget val="inner"/>
          <c:xMode val="edge"/>
          <c:yMode val="edge"/>
          <c:x val="2.1344423673822981E-2"/>
          <c:y val="4.3650793650793746E-2"/>
          <c:w val="0.8281006900650647"/>
          <c:h val="0.85693788276465443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СОШ</c:v>
                </c:pt>
              </c:strCache>
            </c:strRef>
          </c:tx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Val val="1"/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учителей</c:v>
                </c:pt>
              </c:strCache>
            </c:strRef>
          </c:tx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Val val="1"/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303</c:v>
                </c:pt>
                <c:pt idx="1">
                  <c:v>295</c:v>
                </c:pt>
                <c:pt idx="2">
                  <c:v>312</c:v>
                </c:pt>
                <c:pt idx="3">
                  <c:v>336</c:v>
                </c:pt>
                <c:pt idx="4">
                  <c:v>336</c:v>
                </c:pt>
                <c:pt idx="5">
                  <c:v>320</c:v>
                </c:pt>
                <c:pt idx="6">
                  <c:v>31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кол-во учащихся</c:v>
                </c:pt>
              </c:strCache>
            </c:strRef>
          </c:tx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Val val="1"/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Лист1!$D$2:$D$8</c:f>
              <c:numCache>
                <c:formatCode>General</c:formatCode>
                <c:ptCount val="7"/>
                <c:pt idx="0">
                  <c:v>4636</c:v>
                </c:pt>
                <c:pt idx="1">
                  <c:v>4695</c:v>
                </c:pt>
                <c:pt idx="2">
                  <c:v>4820</c:v>
                </c:pt>
                <c:pt idx="3">
                  <c:v>4966</c:v>
                </c:pt>
                <c:pt idx="4">
                  <c:v>5046</c:v>
                </c:pt>
                <c:pt idx="5">
                  <c:v>5107</c:v>
                </c:pt>
                <c:pt idx="6">
                  <c:v>5103</c:v>
                </c:pt>
              </c:numCache>
            </c:numRef>
          </c:val>
        </c:ser>
        <c:gapWidth val="71"/>
        <c:overlap val="-43"/>
        <c:axId val="114985984"/>
        <c:axId val="115008256"/>
      </c:barChart>
      <c:catAx>
        <c:axId val="114985984"/>
        <c:scaling>
          <c:orientation val="minMax"/>
        </c:scaling>
        <c:axPos val="b"/>
        <c:numFmt formatCode="General" sourceLinked="1"/>
        <c:tickLblPos val="nextTo"/>
        <c:crossAx val="115008256"/>
        <c:crosses val="autoZero"/>
        <c:auto val="1"/>
        <c:lblAlgn val="ctr"/>
        <c:lblOffset val="100"/>
      </c:catAx>
      <c:valAx>
        <c:axId val="115008256"/>
        <c:scaling>
          <c:orientation val="minMax"/>
        </c:scaling>
        <c:delete val="1"/>
        <c:axPos val="l"/>
        <c:majorGridlines/>
        <c:numFmt formatCode="General" sourceLinked="1"/>
        <c:tickLblPos val="none"/>
        <c:crossAx val="11498598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6050628588022615"/>
          <c:y val="0.11265062505323621"/>
          <c:w val="0.12785130585050508"/>
          <c:h val="0.73158359819758934"/>
        </c:manualLayout>
      </c:layout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</c:chart>
  <c:txPr>
    <a:bodyPr/>
    <a:lstStyle/>
    <a:p>
      <a:pPr>
        <a:defRPr sz="14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Участники, не ставшие призерами</c:v>
                </c:pt>
              </c:strCache>
            </c:strRef>
          </c:tx>
          <c:spPr>
            <a:solidFill>
              <a:srgbClr val="3399FF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2014-
2015</c:v>
                </c:pt>
                <c:pt idx="1">
                  <c:v>2015-
2016</c:v>
                </c:pt>
                <c:pt idx="2">
                  <c:v>2016-
2017</c:v>
                </c:pt>
                <c:pt idx="3">
                  <c:v>2017-
2018</c:v>
                </c:pt>
                <c:pt idx="4">
                  <c:v>2018-
2019</c:v>
                </c:pt>
                <c:pt idx="5">
                  <c:v>2019-
2020</c:v>
                </c:pt>
                <c:pt idx="6">
                  <c:v>2020-
2021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</c:v>
                </c:pt>
                <c:pt idx="1">
                  <c:v>20</c:v>
                </c:pt>
                <c:pt idx="2">
                  <c:v>12</c:v>
                </c:pt>
                <c:pt idx="3">
                  <c:v>26</c:v>
                </c:pt>
                <c:pt idx="4">
                  <c:v>19</c:v>
                </c:pt>
                <c:pt idx="5">
                  <c:v>18</c:v>
                </c:pt>
                <c:pt idx="6">
                  <c:v>1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изеры</c:v>
                </c:pt>
              </c:strCache>
            </c:strRef>
          </c:tx>
          <c:spPr>
            <a:solidFill>
              <a:srgbClr val="00FF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2014-
2015</c:v>
                </c:pt>
                <c:pt idx="1">
                  <c:v>2015-
2016</c:v>
                </c:pt>
                <c:pt idx="2">
                  <c:v>2016-
2017</c:v>
                </c:pt>
                <c:pt idx="3">
                  <c:v>2017-
2018</c:v>
                </c:pt>
                <c:pt idx="4">
                  <c:v>2018-
2019</c:v>
                </c:pt>
                <c:pt idx="5">
                  <c:v>2019-
2020</c:v>
                </c:pt>
                <c:pt idx="6">
                  <c:v>2020-
2021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7</c:v>
                </c:pt>
                <c:pt idx="1">
                  <c:v>13</c:v>
                </c:pt>
                <c:pt idx="2">
                  <c:v>6</c:v>
                </c:pt>
                <c:pt idx="3">
                  <c:v>17</c:v>
                </c:pt>
                <c:pt idx="4">
                  <c:v>13</c:v>
                </c:pt>
                <c:pt idx="5">
                  <c:v>13</c:v>
                </c:pt>
                <c:pt idx="6">
                  <c:v>6</c:v>
                </c:pt>
              </c:numCache>
            </c:numRef>
          </c:val>
        </c:ser>
        <c:overlap val="100"/>
        <c:axId val="134337280"/>
        <c:axId val="134338816"/>
      </c:barChart>
      <c:catAx>
        <c:axId val="13433728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4338816"/>
        <c:crosses val="autoZero"/>
        <c:auto val="1"/>
        <c:lblAlgn val="ctr"/>
        <c:lblOffset val="100"/>
      </c:catAx>
      <c:valAx>
        <c:axId val="13433881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4337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solidFill>
      <a:schemeClr val="bg1"/>
    </a:solidFill>
    <a:ln w="9525" cap="flat" cmpd="sng" algn="ctr">
      <a:noFill/>
      <a:round/>
    </a:ln>
    <a:effectLst>
      <a:outerShdw blurRad="50800" dist="38100" dir="2700000" algn="tl" rotWithShape="0">
        <a:prstClr val="black">
          <a:alpha val="40000"/>
        </a:prstClr>
      </a:outerShdw>
    </a:effectLst>
    <a:scene3d>
      <a:camera prst="orthographicFront"/>
      <a:lightRig rig="threePt" dir="t"/>
    </a:scene3d>
    <a:sp3d prstMaterial="matte"/>
  </c:spPr>
  <c:txPr>
    <a:bodyPr/>
    <a:lstStyle/>
    <a:p>
      <a:pPr>
        <a:defRPr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Участники, не ставшие призерами</c:v>
                </c:pt>
              </c:strCache>
            </c:strRef>
          </c:tx>
          <c:spPr>
            <a:solidFill>
              <a:srgbClr val="3399FF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2014-
2015</c:v>
                </c:pt>
                <c:pt idx="1">
                  <c:v>2015-
2016</c:v>
                </c:pt>
                <c:pt idx="2">
                  <c:v>2016-
2017</c:v>
                </c:pt>
                <c:pt idx="3">
                  <c:v>2017-
2018</c:v>
                </c:pt>
                <c:pt idx="4">
                  <c:v>2018-
2019</c:v>
                </c:pt>
                <c:pt idx="5">
                  <c:v>2019-
2020</c:v>
                </c:pt>
                <c:pt idx="6">
                  <c:v>2020-
2021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</c:v>
                </c:pt>
                <c:pt idx="1">
                  <c:v>54</c:v>
                </c:pt>
                <c:pt idx="2">
                  <c:v>40</c:v>
                </c:pt>
                <c:pt idx="3">
                  <c:v>42</c:v>
                </c:pt>
                <c:pt idx="4">
                  <c:v>49</c:v>
                </c:pt>
                <c:pt idx="5">
                  <c:v>0</c:v>
                </c:pt>
                <c:pt idx="6">
                  <c:v>3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изеры</c:v>
                </c:pt>
              </c:strCache>
            </c:strRef>
          </c:tx>
          <c:spPr>
            <a:solidFill>
              <a:srgbClr val="00FF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2014-
2015</c:v>
                </c:pt>
                <c:pt idx="1">
                  <c:v>2015-
2016</c:v>
                </c:pt>
                <c:pt idx="2">
                  <c:v>2016-
2017</c:v>
                </c:pt>
                <c:pt idx="3">
                  <c:v>2017-
2018</c:v>
                </c:pt>
                <c:pt idx="4">
                  <c:v>2018-
2019</c:v>
                </c:pt>
                <c:pt idx="5">
                  <c:v>2019-
2020</c:v>
                </c:pt>
                <c:pt idx="6">
                  <c:v>2020-
2021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7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15</c:v>
                </c:pt>
                <c:pt idx="5">
                  <c:v>0</c:v>
                </c:pt>
                <c:pt idx="6">
                  <c:v>13</c:v>
                </c:pt>
              </c:numCache>
            </c:numRef>
          </c:val>
        </c:ser>
        <c:overlap val="100"/>
        <c:axId val="134325760"/>
        <c:axId val="134327296"/>
      </c:barChart>
      <c:catAx>
        <c:axId val="13432576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4327296"/>
        <c:crosses val="autoZero"/>
        <c:auto val="1"/>
        <c:lblAlgn val="ctr"/>
        <c:lblOffset val="100"/>
      </c:catAx>
      <c:valAx>
        <c:axId val="13432729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4325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solidFill>
      <a:schemeClr val="bg1"/>
    </a:solidFill>
    <a:ln w="9525" cap="flat" cmpd="sng" algn="ctr">
      <a:noFill/>
      <a:round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Участники, не ставшие призерами</c:v>
                </c:pt>
              </c:strCache>
            </c:strRef>
          </c:tx>
          <c:spPr>
            <a:solidFill>
              <a:srgbClr val="3399FF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2014-2015</c:v>
                </c:pt>
                <c:pt idx="1">
                  <c:v>2015-2016</c:v>
                </c:pt>
                <c:pt idx="2">
                  <c:v>2016-2017</c:v>
                </c:pt>
                <c:pt idx="3">
                  <c:v>2017-2018</c:v>
                </c:pt>
                <c:pt idx="4">
                  <c:v>2018-2019</c:v>
                </c:pt>
                <c:pt idx="5">
                  <c:v>2019-2020</c:v>
                </c:pt>
                <c:pt idx="6">
                  <c:v>2020-2021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6</c:v>
                </c:pt>
                <c:pt idx="4">
                  <c:v>4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изеры</c:v>
                </c:pt>
              </c:strCache>
            </c:strRef>
          </c:tx>
          <c:spPr>
            <a:solidFill>
              <a:srgbClr val="00FF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2014-2015</c:v>
                </c:pt>
                <c:pt idx="1">
                  <c:v>2015-2016</c:v>
                </c:pt>
                <c:pt idx="2">
                  <c:v>2016-2017</c:v>
                </c:pt>
                <c:pt idx="3">
                  <c:v>2017-2018</c:v>
                </c:pt>
                <c:pt idx="4">
                  <c:v>2018-2019</c:v>
                </c:pt>
                <c:pt idx="5">
                  <c:v>2019-2020</c:v>
                </c:pt>
                <c:pt idx="6">
                  <c:v>2020-2021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4</c:v>
                </c:pt>
                <c:pt idx="4">
                  <c:v>2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overlap val="100"/>
        <c:axId val="134239360"/>
        <c:axId val="134240896"/>
      </c:barChart>
      <c:catAx>
        <c:axId val="13423936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4240896"/>
        <c:crosses val="autoZero"/>
        <c:auto val="1"/>
        <c:lblAlgn val="ctr"/>
        <c:lblOffset val="100"/>
      </c:catAx>
      <c:valAx>
        <c:axId val="13424089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4239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Участники, не ставшие призерами</c:v>
                </c:pt>
              </c:strCache>
            </c:strRef>
          </c:tx>
          <c:spPr>
            <a:solidFill>
              <a:srgbClr val="3399FF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2014-
2015</c:v>
                </c:pt>
                <c:pt idx="1">
                  <c:v>2015-
2016</c:v>
                </c:pt>
                <c:pt idx="2">
                  <c:v>2016-
2017</c:v>
                </c:pt>
                <c:pt idx="3">
                  <c:v>2017-
2018</c:v>
                </c:pt>
                <c:pt idx="4">
                  <c:v>2018-
2019</c:v>
                </c:pt>
                <c:pt idx="5">
                  <c:v>2019-
2020</c:v>
                </c:pt>
                <c:pt idx="6">
                  <c:v>2020-
2021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3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изеры</c:v>
                </c:pt>
              </c:strCache>
            </c:strRef>
          </c:tx>
          <c:spPr>
            <a:solidFill>
              <a:srgbClr val="00FF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2014-
2015</c:v>
                </c:pt>
                <c:pt idx="1">
                  <c:v>2015-
2016</c:v>
                </c:pt>
                <c:pt idx="2">
                  <c:v>2016-
2017</c:v>
                </c:pt>
                <c:pt idx="3">
                  <c:v>2017-
2018</c:v>
                </c:pt>
                <c:pt idx="4">
                  <c:v>2018-
2019</c:v>
                </c:pt>
                <c:pt idx="5">
                  <c:v>2019-
2020</c:v>
                </c:pt>
                <c:pt idx="6">
                  <c:v>2020-
2021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23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overlap val="100"/>
        <c:axId val="134523520"/>
        <c:axId val="134545792"/>
      </c:barChart>
      <c:catAx>
        <c:axId val="13452352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4545792"/>
        <c:crosses val="autoZero"/>
        <c:auto val="1"/>
        <c:lblAlgn val="ctr"/>
        <c:lblOffset val="100"/>
      </c:catAx>
      <c:valAx>
        <c:axId val="13454579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4523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ыпускники 8-х, 9-х классов, проходившие подготовку в межшкольном классе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13-
2014</c:v>
                </c:pt>
                <c:pt idx="1">
                  <c:v>2014-
2015</c:v>
                </c:pt>
                <c:pt idx="2">
                  <c:v>2015-
2016</c:v>
                </c:pt>
                <c:pt idx="3">
                  <c:v>2016-
2017</c:v>
                </c:pt>
                <c:pt idx="4">
                  <c:v>2017-
2018</c:v>
                </c:pt>
                <c:pt idx="5">
                  <c:v>2018-
2019</c:v>
                </c:pt>
                <c:pt idx="6">
                  <c:v>2019-
2020</c:v>
                </c:pt>
                <c:pt idx="7">
                  <c:v>2020-
2021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20</c:v>
                </c:pt>
                <c:pt idx="1">
                  <c:v>86</c:v>
                </c:pt>
                <c:pt idx="2">
                  <c:v>114</c:v>
                </c:pt>
                <c:pt idx="3">
                  <c:v>113</c:v>
                </c:pt>
                <c:pt idx="4">
                  <c:v>164</c:v>
                </c:pt>
                <c:pt idx="5">
                  <c:v>176</c:v>
                </c:pt>
                <c:pt idx="6">
                  <c:v>128</c:v>
                </c:pt>
                <c:pt idx="7">
                  <c:v>0</c:v>
                </c:pt>
              </c:numCache>
            </c:numRef>
          </c:val>
        </c:ser>
        <c:gapWidth val="182"/>
        <c:axId val="139035008"/>
        <c:axId val="139036544"/>
      </c:barChart>
      <c:catAx>
        <c:axId val="13903500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9036544"/>
        <c:crosses val="autoZero"/>
        <c:auto val="1"/>
        <c:lblAlgn val="ctr"/>
        <c:lblOffset val="100"/>
      </c:catAx>
      <c:valAx>
        <c:axId val="139036544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9035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5470790087867941E-2"/>
          <c:y val="0.81642975341921165"/>
          <c:w val="0.8999999138465048"/>
          <c:h val="0.15572246358591763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7.jpe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7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C5D471E-6C0F-4D1F-B23D-F7F89786EAA6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C3974C4-3D82-4973-8ADC-70E19F2D950A}">
      <dgm:prSet phldrT="[Текст]" custT="1"/>
      <dgm:spPr/>
      <dgm:t>
        <a:bodyPr/>
        <a:lstStyle/>
        <a:p>
          <a:r>
            <a:rPr lang="ru-RU" sz="2400" dirty="0" smtClean="0"/>
            <a:t>Категории участников</a:t>
          </a:r>
          <a:endParaRPr lang="ru-RU" sz="2400" dirty="0"/>
        </a:p>
      </dgm:t>
    </dgm:pt>
    <dgm:pt modelId="{35E1A11B-B3E4-4D54-8686-0977175C3690}" type="parTrans" cxnId="{8CAC5352-1A1F-40BC-B1DF-EA9DEE2473AA}">
      <dgm:prSet/>
      <dgm:spPr/>
      <dgm:t>
        <a:bodyPr/>
        <a:lstStyle/>
        <a:p>
          <a:endParaRPr lang="ru-RU" sz="1200"/>
        </a:p>
      </dgm:t>
    </dgm:pt>
    <dgm:pt modelId="{53EC536F-37B0-409F-963A-7458FB95C64C}" type="sibTrans" cxnId="{8CAC5352-1A1F-40BC-B1DF-EA9DEE2473AA}">
      <dgm:prSet/>
      <dgm:spPr/>
      <dgm:t>
        <a:bodyPr/>
        <a:lstStyle/>
        <a:p>
          <a:endParaRPr lang="ru-RU" sz="1200"/>
        </a:p>
      </dgm:t>
    </dgm:pt>
    <dgm:pt modelId="{8460E5C0-B2FD-4DF0-9EED-29AB07758022}">
      <dgm:prSet phldrT="[Текст]" custT="1"/>
      <dgm:spPr/>
      <dgm:t>
        <a:bodyPr/>
        <a:lstStyle/>
        <a:p>
          <a:pPr algn="l"/>
          <a:r>
            <a:rPr lang="ru-RU" sz="1200" dirty="0" smtClean="0"/>
            <a:t>Охват научно практической и </a:t>
          </a:r>
          <a:r>
            <a:rPr lang="ru-RU" sz="1200" dirty="0" err="1" smtClean="0"/>
            <a:t>профориентационной</a:t>
          </a:r>
          <a:r>
            <a:rPr lang="ru-RU" sz="1200" dirty="0" smtClean="0"/>
            <a:t>  деятельностью обучающихся</a:t>
          </a:r>
          <a:endParaRPr lang="ru-RU" sz="1200" dirty="0"/>
        </a:p>
      </dgm:t>
    </dgm:pt>
    <dgm:pt modelId="{DB182724-9245-432B-B83C-72C5D2E5E354}" type="parTrans" cxnId="{5053C66D-25EF-4362-84F8-27324421889F}">
      <dgm:prSet/>
      <dgm:spPr/>
      <dgm:t>
        <a:bodyPr/>
        <a:lstStyle/>
        <a:p>
          <a:endParaRPr lang="ru-RU" sz="1200"/>
        </a:p>
      </dgm:t>
    </dgm:pt>
    <dgm:pt modelId="{E3CE1FD3-A927-48F4-AB6B-73FE1788567C}" type="sibTrans" cxnId="{5053C66D-25EF-4362-84F8-27324421889F}">
      <dgm:prSet/>
      <dgm:spPr/>
      <dgm:t>
        <a:bodyPr/>
        <a:lstStyle/>
        <a:p>
          <a:endParaRPr lang="ru-RU" sz="1200"/>
        </a:p>
      </dgm:t>
    </dgm:pt>
    <dgm:pt modelId="{A5DD1D92-74F7-42FC-BC41-DABF57CD47D3}">
      <dgm:prSet phldrT="[Текст]" custT="1"/>
      <dgm:spPr/>
      <dgm:t>
        <a:bodyPr/>
        <a:lstStyle/>
        <a:p>
          <a:pPr algn="l"/>
          <a:r>
            <a:rPr lang="ru-RU" sz="1200" dirty="0" smtClean="0"/>
            <a:t>Распространение лучших практик в образовании</a:t>
          </a:r>
          <a:endParaRPr lang="ru-RU" sz="1200" dirty="0"/>
        </a:p>
      </dgm:t>
    </dgm:pt>
    <dgm:pt modelId="{F5B66941-B56D-4A7A-8444-2A7A72861755}" type="parTrans" cxnId="{34BCFAE5-9A81-491D-81E5-3A58228D7037}">
      <dgm:prSet/>
      <dgm:spPr/>
      <dgm:t>
        <a:bodyPr/>
        <a:lstStyle/>
        <a:p>
          <a:endParaRPr lang="ru-RU" sz="1200"/>
        </a:p>
      </dgm:t>
    </dgm:pt>
    <dgm:pt modelId="{780F5CFE-9B1F-40B2-BD50-CE798BD1F046}" type="sibTrans" cxnId="{34BCFAE5-9A81-491D-81E5-3A58228D7037}">
      <dgm:prSet/>
      <dgm:spPr/>
      <dgm:t>
        <a:bodyPr/>
        <a:lstStyle/>
        <a:p>
          <a:endParaRPr lang="ru-RU" sz="1200"/>
        </a:p>
      </dgm:t>
    </dgm:pt>
    <dgm:pt modelId="{1A210839-4C90-464B-BD13-1BB057857EAC}">
      <dgm:prSet phldrT="[Текст]" custT="1"/>
      <dgm:spPr/>
      <dgm:t>
        <a:bodyPr/>
        <a:lstStyle/>
        <a:p>
          <a:r>
            <a:rPr lang="ru-RU" sz="2400" dirty="0" smtClean="0"/>
            <a:t>Стимулы</a:t>
          </a:r>
          <a:endParaRPr lang="ru-RU" sz="2400" dirty="0"/>
        </a:p>
      </dgm:t>
    </dgm:pt>
    <dgm:pt modelId="{E66B4D6A-C650-47D5-859E-B9617B725132}" type="parTrans" cxnId="{F0A560B3-AD68-45F1-B685-C2C099441809}">
      <dgm:prSet/>
      <dgm:spPr/>
      <dgm:t>
        <a:bodyPr/>
        <a:lstStyle/>
        <a:p>
          <a:endParaRPr lang="ru-RU" sz="1200"/>
        </a:p>
      </dgm:t>
    </dgm:pt>
    <dgm:pt modelId="{6FABC95A-E5A6-4C11-8186-0E0FB702CA73}" type="sibTrans" cxnId="{F0A560B3-AD68-45F1-B685-C2C099441809}">
      <dgm:prSet/>
      <dgm:spPr/>
      <dgm:t>
        <a:bodyPr/>
        <a:lstStyle/>
        <a:p>
          <a:endParaRPr lang="ru-RU" sz="1200"/>
        </a:p>
      </dgm:t>
    </dgm:pt>
    <dgm:pt modelId="{C8C0FA53-C680-4398-BF9C-01674704FFEC}">
      <dgm:prSet phldrT="[Текст]" custT="1"/>
      <dgm:spPr/>
      <dgm:t>
        <a:bodyPr/>
        <a:lstStyle/>
        <a:p>
          <a:pPr algn="l"/>
          <a:r>
            <a:rPr lang="ru-RU" sz="1200" dirty="0" smtClean="0"/>
            <a:t>Гранты на:</a:t>
          </a:r>
        </a:p>
        <a:p>
          <a:pPr algn="l"/>
          <a:r>
            <a:rPr lang="ru-RU" sz="1200" dirty="0" smtClean="0"/>
            <a:t>- развитие МТБ</a:t>
          </a:r>
        </a:p>
        <a:p>
          <a:pPr algn="l"/>
          <a:r>
            <a:rPr lang="ru-RU" sz="1200" dirty="0" smtClean="0"/>
            <a:t>- премирование учителей</a:t>
          </a:r>
          <a:endParaRPr lang="ru-RU" sz="1200" dirty="0"/>
        </a:p>
      </dgm:t>
    </dgm:pt>
    <dgm:pt modelId="{0E0B0BFF-182C-40AC-A202-020123995B01}" type="parTrans" cxnId="{7FC5A8A5-96F1-410B-AA6C-81C126FDD9D7}">
      <dgm:prSet/>
      <dgm:spPr/>
      <dgm:t>
        <a:bodyPr/>
        <a:lstStyle/>
        <a:p>
          <a:endParaRPr lang="ru-RU" sz="1200"/>
        </a:p>
      </dgm:t>
    </dgm:pt>
    <dgm:pt modelId="{3E948B81-7099-4B72-B558-0192FD7C8374}" type="sibTrans" cxnId="{7FC5A8A5-96F1-410B-AA6C-81C126FDD9D7}">
      <dgm:prSet/>
      <dgm:spPr/>
      <dgm:t>
        <a:bodyPr/>
        <a:lstStyle/>
        <a:p>
          <a:endParaRPr lang="ru-RU" sz="1200"/>
        </a:p>
      </dgm:t>
    </dgm:pt>
    <dgm:pt modelId="{3E9A49CE-1644-4613-8DF9-7C07954AD442}">
      <dgm:prSet phldrT="[Текст]" custT="1"/>
      <dgm:spPr/>
      <dgm:t>
        <a:bodyPr/>
        <a:lstStyle/>
        <a:p>
          <a:pPr algn="l"/>
          <a:r>
            <a:rPr lang="ru-RU" sz="1200" dirty="0" smtClean="0"/>
            <a:t>- Доплаты</a:t>
          </a:r>
        </a:p>
        <a:p>
          <a:pPr algn="l"/>
          <a:r>
            <a:rPr lang="ru-RU" sz="1200" dirty="0" smtClean="0"/>
            <a:t>- Применение лучших практик</a:t>
          </a:r>
          <a:endParaRPr lang="ru-RU" sz="1200" dirty="0"/>
        </a:p>
      </dgm:t>
    </dgm:pt>
    <dgm:pt modelId="{247037BF-591D-4D76-AAC2-11AA8ECAC63D}" type="parTrans" cxnId="{E96DBBAB-39EE-43F3-83E8-984334C0E6D4}">
      <dgm:prSet/>
      <dgm:spPr/>
      <dgm:t>
        <a:bodyPr/>
        <a:lstStyle/>
        <a:p>
          <a:endParaRPr lang="ru-RU" sz="1200"/>
        </a:p>
      </dgm:t>
    </dgm:pt>
    <dgm:pt modelId="{9F2E2597-62A5-4EA3-B92D-B425377F28E4}" type="sibTrans" cxnId="{E96DBBAB-39EE-43F3-83E8-984334C0E6D4}">
      <dgm:prSet/>
      <dgm:spPr/>
      <dgm:t>
        <a:bodyPr/>
        <a:lstStyle/>
        <a:p>
          <a:endParaRPr lang="ru-RU" sz="1200"/>
        </a:p>
      </dgm:t>
    </dgm:pt>
    <dgm:pt modelId="{D84E8C69-B7F3-48EE-B4E0-0714BA1B2BA7}">
      <dgm:prSet phldrT="[Текст]" custT="1"/>
      <dgm:spPr/>
      <dgm:t>
        <a:bodyPr/>
        <a:lstStyle/>
        <a:p>
          <a:pPr algn="l"/>
          <a:r>
            <a:rPr lang="ru-RU" sz="1200" dirty="0" smtClean="0"/>
            <a:t>Профессиональные пробы обучающихся </a:t>
          </a:r>
          <a:endParaRPr lang="ru-RU" sz="1200" dirty="0"/>
        </a:p>
      </dgm:t>
    </dgm:pt>
    <dgm:pt modelId="{BC04B6C1-A20D-4518-970F-CFFB2715D286}" type="parTrans" cxnId="{26ACCD98-C88F-4F3A-BAB8-8D3C23E24609}">
      <dgm:prSet/>
      <dgm:spPr/>
      <dgm:t>
        <a:bodyPr/>
        <a:lstStyle/>
        <a:p>
          <a:endParaRPr lang="ru-RU" sz="1200"/>
        </a:p>
      </dgm:t>
    </dgm:pt>
    <dgm:pt modelId="{8B52E0FF-90FC-49A5-9424-3EE536F1A33D}" type="sibTrans" cxnId="{26ACCD98-C88F-4F3A-BAB8-8D3C23E24609}">
      <dgm:prSet/>
      <dgm:spPr/>
      <dgm:t>
        <a:bodyPr/>
        <a:lstStyle/>
        <a:p>
          <a:endParaRPr lang="ru-RU" sz="1200"/>
        </a:p>
      </dgm:t>
    </dgm:pt>
    <dgm:pt modelId="{4414B94C-CF49-4876-A750-68DFD3C90A37}">
      <dgm:prSet phldrT="[Текст]" custT="1"/>
      <dgm:spPr/>
      <dgm:t>
        <a:bodyPr/>
        <a:lstStyle/>
        <a:p>
          <a:pPr algn="l"/>
          <a:r>
            <a:rPr lang="ru-RU" sz="1200" dirty="0" smtClean="0"/>
            <a:t>- Профессиональное самоопределение</a:t>
          </a:r>
        </a:p>
        <a:p>
          <a:pPr algn="l"/>
          <a:r>
            <a:rPr lang="ru-RU" sz="1200" dirty="0" smtClean="0"/>
            <a:t>- Навыки по виду деятельности</a:t>
          </a:r>
        </a:p>
        <a:p>
          <a:pPr algn="l"/>
          <a:r>
            <a:rPr lang="ru-RU" sz="1200" dirty="0" smtClean="0"/>
            <a:t>- </a:t>
          </a:r>
          <a:r>
            <a:rPr lang="ru-RU" sz="1200" dirty="0" err="1" smtClean="0"/>
            <a:t>Портфолио</a:t>
          </a:r>
          <a:r>
            <a:rPr lang="ru-RU" sz="1200" dirty="0" smtClean="0"/>
            <a:t>, </a:t>
          </a:r>
          <a:r>
            <a:rPr lang="ru-RU" sz="1200" dirty="0" err="1" smtClean="0"/>
            <a:t>мерч</a:t>
          </a:r>
          <a:endParaRPr lang="ru-RU" sz="1200" dirty="0"/>
        </a:p>
      </dgm:t>
    </dgm:pt>
    <dgm:pt modelId="{78C13F11-6311-491D-B1FA-62B2C1C2E259}" type="parTrans" cxnId="{27622651-28D2-45D4-81F4-B757DF631A4C}">
      <dgm:prSet/>
      <dgm:spPr/>
      <dgm:t>
        <a:bodyPr/>
        <a:lstStyle/>
        <a:p>
          <a:endParaRPr lang="ru-RU"/>
        </a:p>
      </dgm:t>
    </dgm:pt>
    <dgm:pt modelId="{B47A73F8-2D1D-4264-8297-D6923A8B9AD8}" type="sibTrans" cxnId="{27622651-28D2-45D4-81F4-B757DF631A4C}">
      <dgm:prSet/>
      <dgm:spPr/>
      <dgm:t>
        <a:bodyPr/>
        <a:lstStyle/>
        <a:p>
          <a:endParaRPr lang="ru-RU"/>
        </a:p>
      </dgm:t>
    </dgm:pt>
    <dgm:pt modelId="{39FD864A-2B17-4102-9731-E6E53E303FF4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2400" dirty="0" smtClean="0"/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dirty="0" smtClean="0"/>
            <a:t>Целевые показатели </a:t>
          </a:r>
        </a:p>
        <a:p>
          <a:pPr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dirty="0"/>
        </a:p>
      </dgm:t>
    </dgm:pt>
    <dgm:pt modelId="{0F24A94A-C956-4119-9957-12145DB64A0B}" type="parTrans" cxnId="{0FF8133B-2CEE-4924-9884-3A06A6107901}">
      <dgm:prSet/>
      <dgm:spPr/>
      <dgm:t>
        <a:bodyPr/>
        <a:lstStyle/>
        <a:p>
          <a:endParaRPr lang="ru-RU"/>
        </a:p>
      </dgm:t>
    </dgm:pt>
    <dgm:pt modelId="{F6194C02-CF3B-4614-B363-BC077BE0B59F}" type="sibTrans" cxnId="{0FF8133B-2CEE-4924-9884-3A06A6107901}">
      <dgm:prSet/>
      <dgm:spPr/>
      <dgm:t>
        <a:bodyPr/>
        <a:lstStyle/>
        <a:p>
          <a:endParaRPr lang="ru-RU"/>
        </a:p>
      </dgm:t>
    </dgm:pt>
    <dgm:pt modelId="{A58CCB36-DD2C-4114-934B-0D989066F213}">
      <dgm:prSet custT="1"/>
      <dgm:spPr/>
      <dgm:t>
        <a:bodyPr/>
        <a:lstStyle/>
        <a:p>
          <a:r>
            <a:rPr lang="ru-RU" sz="1200" dirty="0" smtClean="0"/>
            <a:t>        Образовательные       учреждения</a:t>
          </a:r>
          <a:endParaRPr lang="ru-RU" sz="1200" dirty="0"/>
        </a:p>
      </dgm:t>
    </dgm:pt>
    <dgm:pt modelId="{370032D6-BE57-4642-A295-C850D92000FD}" type="parTrans" cxnId="{EFEE8B66-F88B-44E8-AB8B-B46AA9BFC043}">
      <dgm:prSet/>
      <dgm:spPr/>
      <dgm:t>
        <a:bodyPr/>
        <a:lstStyle/>
        <a:p>
          <a:endParaRPr lang="ru-RU"/>
        </a:p>
      </dgm:t>
    </dgm:pt>
    <dgm:pt modelId="{627BDE23-AE5E-439F-937D-EBB2BC68F470}" type="sibTrans" cxnId="{EFEE8B66-F88B-44E8-AB8B-B46AA9BFC043}">
      <dgm:prSet/>
      <dgm:spPr/>
      <dgm:t>
        <a:bodyPr/>
        <a:lstStyle/>
        <a:p>
          <a:endParaRPr lang="ru-RU"/>
        </a:p>
      </dgm:t>
    </dgm:pt>
    <dgm:pt modelId="{34F4E02F-6C1F-429A-99E0-8586CBE0FC93}">
      <dgm:prSet custT="1"/>
      <dgm:spPr/>
      <dgm:t>
        <a:bodyPr/>
        <a:lstStyle/>
        <a:p>
          <a:r>
            <a:rPr lang="ru-RU" sz="1200" dirty="0" smtClean="0"/>
            <a:t>Учителя</a:t>
          </a:r>
          <a:r>
            <a:rPr lang="ru-RU" sz="1700" dirty="0" smtClean="0"/>
            <a:t> </a:t>
          </a:r>
          <a:endParaRPr lang="ru-RU" sz="1700" dirty="0"/>
        </a:p>
      </dgm:t>
    </dgm:pt>
    <dgm:pt modelId="{B2750135-7621-4BE1-96FC-20591FA87915}" type="parTrans" cxnId="{670328E4-1521-4D9B-ACAF-0231C1618B85}">
      <dgm:prSet/>
      <dgm:spPr/>
      <dgm:t>
        <a:bodyPr/>
        <a:lstStyle/>
        <a:p>
          <a:endParaRPr lang="ru-RU"/>
        </a:p>
      </dgm:t>
    </dgm:pt>
    <dgm:pt modelId="{D3EE9232-CED0-4B6C-8D52-5601CC0CAC38}" type="sibTrans" cxnId="{670328E4-1521-4D9B-ACAF-0231C1618B85}">
      <dgm:prSet/>
      <dgm:spPr/>
      <dgm:t>
        <a:bodyPr/>
        <a:lstStyle/>
        <a:p>
          <a:endParaRPr lang="ru-RU"/>
        </a:p>
      </dgm:t>
    </dgm:pt>
    <dgm:pt modelId="{04186EDF-3414-46EC-B82C-A92D0D51DE5A}">
      <dgm:prSet custT="1"/>
      <dgm:spPr/>
      <dgm:t>
        <a:bodyPr/>
        <a:lstStyle/>
        <a:p>
          <a:pPr marL="268288" indent="0"/>
          <a:r>
            <a:rPr lang="ru-RU" sz="1200" dirty="0" smtClean="0"/>
            <a:t>Дети основного и дополнительного образования </a:t>
          </a:r>
          <a:endParaRPr lang="ru-RU" sz="1200" dirty="0"/>
        </a:p>
      </dgm:t>
    </dgm:pt>
    <dgm:pt modelId="{579A0E61-F856-4CE6-A4AE-226DC85EA8C1}" type="parTrans" cxnId="{8897D167-80F0-4BA5-A486-01BD61E9D202}">
      <dgm:prSet/>
      <dgm:spPr/>
      <dgm:t>
        <a:bodyPr/>
        <a:lstStyle/>
        <a:p>
          <a:endParaRPr lang="ru-RU"/>
        </a:p>
      </dgm:t>
    </dgm:pt>
    <dgm:pt modelId="{DAAE4252-BB80-4479-8797-ED723D89A5A4}" type="sibTrans" cxnId="{8897D167-80F0-4BA5-A486-01BD61E9D202}">
      <dgm:prSet/>
      <dgm:spPr/>
      <dgm:t>
        <a:bodyPr/>
        <a:lstStyle/>
        <a:p>
          <a:endParaRPr lang="ru-RU"/>
        </a:p>
      </dgm:t>
    </dgm:pt>
    <dgm:pt modelId="{F718A093-91DC-4BF3-9BDD-1E890A0926C3}" type="pres">
      <dgm:prSet presAssocID="{7C5D471E-6C0F-4D1F-B23D-F7F89786EAA6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1AFD40AE-6D78-44F2-B489-F40B53C02757}" type="pres">
      <dgm:prSet presAssocID="{BC3974C4-3D82-4973-8ADC-70E19F2D950A}" presName="root" presStyleCnt="0"/>
      <dgm:spPr/>
    </dgm:pt>
    <dgm:pt modelId="{B94996A2-0B30-49F0-820D-7B35C987D762}" type="pres">
      <dgm:prSet presAssocID="{BC3974C4-3D82-4973-8ADC-70E19F2D950A}" presName="rootComposite" presStyleCnt="0"/>
      <dgm:spPr/>
    </dgm:pt>
    <dgm:pt modelId="{6B76A710-B519-4889-9DA3-909B8D8E29A3}" type="pres">
      <dgm:prSet presAssocID="{BC3974C4-3D82-4973-8ADC-70E19F2D950A}" presName="rootText" presStyleLbl="node1" presStyleIdx="0" presStyleCnt="3"/>
      <dgm:spPr/>
      <dgm:t>
        <a:bodyPr/>
        <a:lstStyle/>
        <a:p>
          <a:endParaRPr lang="ru-RU"/>
        </a:p>
      </dgm:t>
    </dgm:pt>
    <dgm:pt modelId="{5A6CF7E6-FA8B-471A-8A8E-C86D297E5590}" type="pres">
      <dgm:prSet presAssocID="{BC3974C4-3D82-4973-8ADC-70E19F2D950A}" presName="rootConnector" presStyleLbl="node1" presStyleIdx="0" presStyleCnt="3"/>
      <dgm:spPr/>
      <dgm:t>
        <a:bodyPr/>
        <a:lstStyle/>
        <a:p>
          <a:endParaRPr lang="ru-RU"/>
        </a:p>
      </dgm:t>
    </dgm:pt>
    <dgm:pt modelId="{81A63FDA-8841-4A1B-956B-8AB210FBAF21}" type="pres">
      <dgm:prSet presAssocID="{BC3974C4-3D82-4973-8ADC-70E19F2D950A}" presName="childShape" presStyleCnt="0"/>
      <dgm:spPr/>
    </dgm:pt>
    <dgm:pt modelId="{706389DB-A333-4FA6-8599-EA50BF5C3F40}" type="pres">
      <dgm:prSet presAssocID="{370032D6-BE57-4642-A295-C850D92000FD}" presName="Name13" presStyleLbl="parChTrans1D2" presStyleIdx="0" presStyleCnt="9"/>
      <dgm:spPr/>
      <dgm:t>
        <a:bodyPr/>
        <a:lstStyle/>
        <a:p>
          <a:endParaRPr lang="ru-RU"/>
        </a:p>
      </dgm:t>
    </dgm:pt>
    <dgm:pt modelId="{50432033-A759-4836-B7D5-5FB6E4D5127F}" type="pres">
      <dgm:prSet presAssocID="{A58CCB36-DD2C-4114-934B-0D989066F213}" presName="childText" presStyleLbl="bgAcc1" presStyleIdx="0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095C95-2E91-4798-9B92-5F8B72B3C2B7}" type="pres">
      <dgm:prSet presAssocID="{B2750135-7621-4BE1-96FC-20591FA87915}" presName="Name13" presStyleLbl="parChTrans1D2" presStyleIdx="1" presStyleCnt="9"/>
      <dgm:spPr/>
      <dgm:t>
        <a:bodyPr/>
        <a:lstStyle/>
        <a:p>
          <a:endParaRPr lang="ru-RU"/>
        </a:p>
      </dgm:t>
    </dgm:pt>
    <dgm:pt modelId="{8A4E4CE3-B59B-44C3-A50C-AA9ACD249EED}" type="pres">
      <dgm:prSet presAssocID="{34F4E02F-6C1F-429A-99E0-8586CBE0FC93}" presName="childText" presStyleLbl="bgAcc1" presStyleIdx="1" presStyleCnt="9" custLinFactNeighborX="2055" custLinFactNeighborY="-32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16161B3-50F1-4AD1-A701-9065C6C41AB3}" type="pres">
      <dgm:prSet presAssocID="{579A0E61-F856-4CE6-A4AE-226DC85EA8C1}" presName="Name13" presStyleLbl="parChTrans1D2" presStyleIdx="2" presStyleCnt="9"/>
      <dgm:spPr/>
      <dgm:t>
        <a:bodyPr/>
        <a:lstStyle/>
        <a:p>
          <a:endParaRPr lang="ru-RU"/>
        </a:p>
      </dgm:t>
    </dgm:pt>
    <dgm:pt modelId="{67AC641C-6C86-4878-91CD-49B42E3058F5}" type="pres">
      <dgm:prSet presAssocID="{04186EDF-3414-46EC-B82C-A92D0D51DE5A}" presName="childText" presStyleLbl="bgAcc1" presStyleIdx="2" presStyleCnt="9" custLinFactNeighborX="2055" custLinFactNeighborY="191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FEED51-DA85-4B83-A9EA-E6A91B128937}" type="pres">
      <dgm:prSet presAssocID="{39FD864A-2B17-4102-9731-E6E53E303FF4}" presName="root" presStyleCnt="0"/>
      <dgm:spPr/>
    </dgm:pt>
    <dgm:pt modelId="{E703BFD7-EBC3-464A-96B7-A88BC85AA1F0}" type="pres">
      <dgm:prSet presAssocID="{39FD864A-2B17-4102-9731-E6E53E303FF4}" presName="rootComposite" presStyleCnt="0"/>
      <dgm:spPr/>
    </dgm:pt>
    <dgm:pt modelId="{CC7B10AB-51E6-42B5-B887-8BCBF82B5F73}" type="pres">
      <dgm:prSet presAssocID="{39FD864A-2B17-4102-9731-E6E53E303FF4}" presName="rootText" presStyleLbl="node1" presStyleIdx="1" presStyleCnt="3"/>
      <dgm:spPr/>
      <dgm:t>
        <a:bodyPr/>
        <a:lstStyle/>
        <a:p>
          <a:endParaRPr lang="ru-RU"/>
        </a:p>
      </dgm:t>
    </dgm:pt>
    <dgm:pt modelId="{BA0C94A3-BBBE-4FCB-847A-A2312B20CFF7}" type="pres">
      <dgm:prSet presAssocID="{39FD864A-2B17-4102-9731-E6E53E303FF4}" presName="rootConnector" presStyleLbl="node1" presStyleIdx="1" presStyleCnt="3"/>
      <dgm:spPr/>
      <dgm:t>
        <a:bodyPr/>
        <a:lstStyle/>
        <a:p>
          <a:endParaRPr lang="ru-RU"/>
        </a:p>
      </dgm:t>
    </dgm:pt>
    <dgm:pt modelId="{4DF3DDF3-B514-4713-AABC-C55B8AA50CD6}" type="pres">
      <dgm:prSet presAssocID="{39FD864A-2B17-4102-9731-E6E53E303FF4}" presName="childShape" presStyleCnt="0"/>
      <dgm:spPr/>
    </dgm:pt>
    <dgm:pt modelId="{E9D2EEE6-CFD1-4573-BDCA-FF4259A8A6DB}" type="pres">
      <dgm:prSet presAssocID="{DB182724-9245-432B-B83C-72C5D2E5E354}" presName="Name13" presStyleLbl="parChTrans1D2" presStyleIdx="3" presStyleCnt="9"/>
      <dgm:spPr/>
      <dgm:t>
        <a:bodyPr/>
        <a:lstStyle/>
        <a:p>
          <a:endParaRPr lang="ru-RU"/>
        </a:p>
      </dgm:t>
    </dgm:pt>
    <dgm:pt modelId="{0694F660-336E-407E-8847-D549A17CDCCA}" type="pres">
      <dgm:prSet presAssocID="{8460E5C0-B2FD-4DF0-9EED-29AB07758022}" presName="childText" presStyleLbl="bgAcc1" presStyleIdx="3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976D37-3A0F-4D47-9946-56892492B243}" type="pres">
      <dgm:prSet presAssocID="{F5B66941-B56D-4A7A-8444-2A7A72861755}" presName="Name13" presStyleLbl="parChTrans1D2" presStyleIdx="4" presStyleCnt="9"/>
      <dgm:spPr/>
      <dgm:t>
        <a:bodyPr/>
        <a:lstStyle/>
        <a:p>
          <a:endParaRPr lang="ru-RU"/>
        </a:p>
      </dgm:t>
    </dgm:pt>
    <dgm:pt modelId="{C26C34DF-C25A-42F9-B238-EB569A311FAC}" type="pres">
      <dgm:prSet presAssocID="{A5DD1D92-74F7-42FC-BC41-DABF57CD47D3}" presName="childText" presStyleLbl="bgAcc1" presStyleIdx="4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3206F0F-6576-40D1-8B32-0DBA1C5CB54F}" type="pres">
      <dgm:prSet presAssocID="{BC04B6C1-A20D-4518-970F-CFFB2715D286}" presName="Name13" presStyleLbl="parChTrans1D2" presStyleIdx="5" presStyleCnt="9"/>
      <dgm:spPr/>
      <dgm:t>
        <a:bodyPr/>
        <a:lstStyle/>
        <a:p>
          <a:endParaRPr lang="ru-RU"/>
        </a:p>
      </dgm:t>
    </dgm:pt>
    <dgm:pt modelId="{848CFAEB-2E1E-421E-BB93-559058028F56}" type="pres">
      <dgm:prSet presAssocID="{D84E8C69-B7F3-48EE-B4E0-0714BA1B2BA7}" presName="childText" presStyleLbl="bgAcc1" presStyleIdx="5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C89DA3D-F504-48EC-A034-CDB06219B920}" type="pres">
      <dgm:prSet presAssocID="{1A210839-4C90-464B-BD13-1BB057857EAC}" presName="root" presStyleCnt="0"/>
      <dgm:spPr/>
    </dgm:pt>
    <dgm:pt modelId="{26A30053-77FF-4A6C-B28B-39D6D56F0B09}" type="pres">
      <dgm:prSet presAssocID="{1A210839-4C90-464B-BD13-1BB057857EAC}" presName="rootComposite" presStyleCnt="0"/>
      <dgm:spPr/>
    </dgm:pt>
    <dgm:pt modelId="{B51688B4-6ECB-4D2E-A055-C5952DBA77F9}" type="pres">
      <dgm:prSet presAssocID="{1A210839-4C90-464B-BD13-1BB057857EAC}" presName="rootText" presStyleLbl="node1" presStyleIdx="2" presStyleCnt="3"/>
      <dgm:spPr/>
      <dgm:t>
        <a:bodyPr/>
        <a:lstStyle/>
        <a:p>
          <a:endParaRPr lang="ru-RU"/>
        </a:p>
      </dgm:t>
    </dgm:pt>
    <dgm:pt modelId="{2002F1C6-1F3D-4E2A-B46A-ECC79D4C29EC}" type="pres">
      <dgm:prSet presAssocID="{1A210839-4C90-464B-BD13-1BB057857EAC}" presName="rootConnector" presStyleLbl="node1" presStyleIdx="2" presStyleCnt="3"/>
      <dgm:spPr/>
      <dgm:t>
        <a:bodyPr/>
        <a:lstStyle/>
        <a:p>
          <a:endParaRPr lang="ru-RU"/>
        </a:p>
      </dgm:t>
    </dgm:pt>
    <dgm:pt modelId="{14A1C918-C153-4B77-A2AE-D36FA5266070}" type="pres">
      <dgm:prSet presAssocID="{1A210839-4C90-464B-BD13-1BB057857EAC}" presName="childShape" presStyleCnt="0"/>
      <dgm:spPr/>
    </dgm:pt>
    <dgm:pt modelId="{91AC10C9-6D06-41FF-8CFD-8C14C81B3744}" type="pres">
      <dgm:prSet presAssocID="{0E0B0BFF-182C-40AC-A202-020123995B01}" presName="Name13" presStyleLbl="parChTrans1D2" presStyleIdx="6" presStyleCnt="9"/>
      <dgm:spPr/>
      <dgm:t>
        <a:bodyPr/>
        <a:lstStyle/>
        <a:p>
          <a:endParaRPr lang="ru-RU"/>
        </a:p>
      </dgm:t>
    </dgm:pt>
    <dgm:pt modelId="{E07F8063-6242-482C-94B7-B9FF7198B70C}" type="pres">
      <dgm:prSet presAssocID="{C8C0FA53-C680-4398-BF9C-01674704FFEC}" presName="childText" presStyleLbl="bgAcc1" presStyleIdx="6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CDD942B-FD55-409A-A1E4-03A76FCA5F76}" type="pres">
      <dgm:prSet presAssocID="{247037BF-591D-4D76-AAC2-11AA8ECAC63D}" presName="Name13" presStyleLbl="parChTrans1D2" presStyleIdx="7" presStyleCnt="9"/>
      <dgm:spPr/>
      <dgm:t>
        <a:bodyPr/>
        <a:lstStyle/>
        <a:p>
          <a:endParaRPr lang="ru-RU"/>
        </a:p>
      </dgm:t>
    </dgm:pt>
    <dgm:pt modelId="{D3C46E9B-EEAF-4738-BE3F-7043EA3A9107}" type="pres">
      <dgm:prSet presAssocID="{3E9A49CE-1644-4613-8DF9-7C07954AD442}" presName="childText" presStyleLbl="bgAcc1" presStyleIdx="7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2538D9-CF9D-4CF9-A422-A0B4BB1BE18B}" type="pres">
      <dgm:prSet presAssocID="{78C13F11-6311-491D-B1FA-62B2C1C2E259}" presName="Name13" presStyleLbl="parChTrans1D2" presStyleIdx="8" presStyleCnt="9"/>
      <dgm:spPr/>
      <dgm:t>
        <a:bodyPr/>
        <a:lstStyle/>
        <a:p>
          <a:endParaRPr lang="ru-RU"/>
        </a:p>
      </dgm:t>
    </dgm:pt>
    <dgm:pt modelId="{21A07F88-3A78-4C03-8237-7F8FEE079D00}" type="pres">
      <dgm:prSet presAssocID="{4414B94C-CF49-4876-A750-68DFD3C90A37}" presName="childText" presStyleLbl="bgAcc1" presStyleIdx="8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E00EA63-ACD6-48AC-A458-0AFCABE41D07}" type="presOf" srcId="{DB182724-9245-432B-B83C-72C5D2E5E354}" destId="{E9D2EEE6-CFD1-4573-BDCA-FF4259A8A6DB}" srcOrd="0" destOrd="0" presId="urn:microsoft.com/office/officeart/2005/8/layout/hierarchy3"/>
    <dgm:cxn modelId="{446F7802-DD8A-4A30-BC36-46EFD96E2078}" type="presOf" srcId="{A5DD1D92-74F7-42FC-BC41-DABF57CD47D3}" destId="{C26C34DF-C25A-42F9-B238-EB569A311FAC}" srcOrd="0" destOrd="0" presId="urn:microsoft.com/office/officeart/2005/8/layout/hierarchy3"/>
    <dgm:cxn modelId="{27622651-28D2-45D4-81F4-B757DF631A4C}" srcId="{1A210839-4C90-464B-BD13-1BB057857EAC}" destId="{4414B94C-CF49-4876-A750-68DFD3C90A37}" srcOrd="2" destOrd="0" parTransId="{78C13F11-6311-491D-B1FA-62B2C1C2E259}" sibTransId="{B47A73F8-2D1D-4264-8297-D6923A8B9AD8}"/>
    <dgm:cxn modelId="{5053C66D-25EF-4362-84F8-27324421889F}" srcId="{39FD864A-2B17-4102-9731-E6E53E303FF4}" destId="{8460E5C0-B2FD-4DF0-9EED-29AB07758022}" srcOrd="0" destOrd="0" parTransId="{DB182724-9245-432B-B83C-72C5D2E5E354}" sibTransId="{E3CE1FD3-A927-48F4-AB6B-73FE1788567C}"/>
    <dgm:cxn modelId="{47EFD6F5-E0BF-4C7D-A731-F4915922E6C6}" type="presOf" srcId="{78C13F11-6311-491D-B1FA-62B2C1C2E259}" destId="{AD2538D9-CF9D-4CF9-A422-A0B4BB1BE18B}" srcOrd="0" destOrd="0" presId="urn:microsoft.com/office/officeart/2005/8/layout/hierarchy3"/>
    <dgm:cxn modelId="{22301BB9-F89B-4F49-868F-2F4B1D62731F}" type="presOf" srcId="{1A210839-4C90-464B-BD13-1BB057857EAC}" destId="{B51688B4-6ECB-4D2E-A055-C5952DBA77F9}" srcOrd="0" destOrd="0" presId="urn:microsoft.com/office/officeart/2005/8/layout/hierarchy3"/>
    <dgm:cxn modelId="{8CAC5352-1A1F-40BC-B1DF-EA9DEE2473AA}" srcId="{7C5D471E-6C0F-4D1F-B23D-F7F89786EAA6}" destId="{BC3974C4-3D82-4973-8ADC-70E19F2D950A}" srcOrd="0" destOrd="0" parTransId="{35E1A11B-B3E4-4D54-8686-0977175C3690}" sibTransId="{53EC536F-37B0-409F-963A-7458FB95C64C}"/>
    <dgm:cxn modelId="{72B9E598-EB96-467D-84FE-A598E38C3B46}" type="presOf" srcId="{BC3974C4-3D82-4973-8ADC-70E19F2D950A}" destId="{5A6CF7E6-FA8B-471A-8A8E-C86D297E5590}" srcOrd="1" destOrd="0" presId="urn:microsoft.com/office/officeart/2005/8/layout/hierarchy3"/>
    <dgm:cxn modelId="{4B88DB6A-2760-4A3B-AC36-4091CFE48813}" type="presOf" srcId="{1A210839-4C90-464B-BD13-1BB057857EAC}" destId="{2002F1C6-1F3D-4E2A-B46A-ECC79D4C29EC}" srcOrd="1" destOrd="0" presId="urn:microsoft.com/office/officeart/2005/8/layout/hierarchy3"/>
    <dgm:cxn modelId="{7FC5A8A5-96F1-410B-AA6C-81C126FDD9D7}" srcId="{1A210839-4C90-464B-BD13-1BB057857EAC}" destId="{C8C0FA53-C680-4398-BF9C-01674704FFEC}" srcOrd="0" destOrd="0" parTransId="{0E0B0BFF-182C-40AC-A202-020123995B01}" sibTransId="{3E948B81-7099-4B72-B558-0192FD7C8374}"/>
    <dgm:cxn modelId="{81CB8572-1B6F-40D6-8798-57F32FE3FD9D}" type="presOf" srcId="{8460E5C0-B2FD-4DF0-9EED-29AB07758022}" destId="{0694F660-336E-407E-8847-D549A17CDCCA}" srcOrd="0" destOrd="0" presId="urn:microsoft.com/office/officeart/2005/8/layout/hierarchy3"/>
    <dgm:cxn modelId="{FE3CD4B1-84D9-4C81-8730-652C03F1AE8B}" type="presOf" srcId="{BC04B6C1-A20D-4518-970F-CFFB2715D286}" destId="{93206F0F-6576-40D1-8B32-0DBA1C5CB54F}" srcOrd="0" destOrd="0" presId="urn:microsoft.com/office/officeart/2005/8/layout/hierarchy3"/>
    <dgm:cxn modelId="{AEB6A76F-ADE0-4C41-AA8B-C353E58D1F48}" type="presOf" srcId="{3E9A49CE-1644-4613-8DF9-7C07954AD442}" destId="{D3C46E9B-EEAF-4738-BE3F-7043EA3A9107}" srcOrd="0" destOrd="0" presId="urn:microsoft.com/office/officeart/2005/8/layout/hierarchy3"/>
    <dgm:cxn modelId="{513B0F7C-3EB4-498E-A8EF-286881AA9A02}" type="presOf" srcId="{A58CCB36-DD2C-4114-934B-0D989066F213}" destId="{50432033-A759-4836-B7D5-5FB6E4D5127F}" srcOrd="0" destOrd="0" presId="urn:microsoft.com/office/officeart/2005/8/layout/hierarchy3"/>
    <dgm:cxn modelId="{26ACCD98-C88F-4F3A-BAB8-8D3C23E24609}" srcId="{39FD864A-2B17-4102-9731-E6E53E303FF4}" destId="{D84E8C69-B7F3-48EE-B4E0-0714BA1B2BA7}" srcOrd="2" destOrd="0" parTransId="{BC04B6C1-A20D-4518-970F-CFFB2715D286}" sibTransId="{8B52E0FF-90FC-49A5-9424-3EE536F1A33D}"/>
    <dgm:cxn modelId="{8897D167-80F0-4BA5-A486-01BD61E9D202}" srcId="{BC3974C4-3D82-4973-8ADC-70E19F2D950A}" destId="{04186EDF-3414-46EC-B82C-A92D0D51DE5A}" srcOrd="2" destOrd="0" parTransId="{579A0E61-F856-4CE6-A4AE-226DC85EA8C1}" sibTransId="{DAAE4252-BB80-4479-8797-ED723D89A5A4}"/>
    <dgm:cxn modelId="{08EE7F8D-7266-41B1-8E34-A73B4E71D005}" type="presOf" srcId="{B2750135-7621-4BE1-96FC-20591FA87915}" destId="{6D095C95-2E91-4798-9B92-5F8B72B3C2B7}" srcOrd="0" destOrd="0" presId="urn:microsoft.com/office/officeart/2005/8/layout/hierarchy3"/>
    <dgm:cxn modelId="{846AFF5F-17F1-4C5B-AF57-3F45CA3BBC90}" type="presOf" srcId="{0E0B0BFF-182C-40AC-A202-020123995B01}" destId="{91AC10C9-6D06-41FF-8CFD-8C14C81B3744}" srcOrd="0" destOrd="0" presId="urn:microsoft.com/office/officeart/2005/8/layout/hierarchy3"/>
    <dgm:cxn modelId="{75978FE2-EC55-4821-87F9-E7A4C46AA5AA}" type="presOf" srcId="{F5B66941-B56D-4A7A-8444-2A7A72861755}" destId="{E6976D37-3A0F-4D47-9946-56892492B243}" srcOrd="0" destOrd="0" presId="urn:microsoft.com/office/officeart/2005/8/layout/hierarchy3"/>
    <dgm:cxn modelId="{3FB32E36-EA26-40F8-89BD-8EAFBC65E4A4}" type="presOf" srcId="{39FD864A-2B17-4102-9731-E6E53E303FF4}" destId="{BA0C94A3-BBBE-4FCB-847A-A2312B20CFF7}" srcOrd="1" destOrd="0" presId="urn:microsoft.com/office/officeart/2005/8/layout/hierarchy3"/>
    <dgm:cxn modelId="{3C7F7EC9-C381-4665-81CD-363B3B121209}" type="presOf" srcId="{39FD864A-2B17-4102-9731-E6E53E303FF4}" destId="{CC7B10AB-51E6-42B5-B887-8BCBF82B5F73}" srcOrd="0" destOrd="0" presId="urn:microsoft.com/office/officeart/2005/8/layout/hierarchy3"/>
    <dgm:cxn modelId="{8FCED5C1-D22B-4134-A94C-3E7CAA063203}" type="presOf" srcId="{7C5D471E-6C0F-4D1F-B23D-F7F89786EAA6}" destId="{F718A093-91DC-4BF3-9BDD-1E890A0926C3}" srcOrd="0" destOrd="0" presId="urn:microsoft.com/office/officeart/2005/8/layout/hierarchy3"/>
    <dgm:cxn modelId="{A60043EE-D9CC-44B2-A760-D36C1974FF3F}" type="presOf" srcId="{247037BF-591D-4D76-AAC2-11AA8ECAC63D}" destId="{6CDD942B-FD55-409A-A1E4-03A76FCA5F76}" srcOrd="0" destOrd="0" presId="urn:microsoft.com/office/officeart/2005/8/layout/hierarchy3"/>
    <dgm:cxn modelId="{2808F568-DA71-4F94-BB04-72BAA75221D9}" type="presOf" srcId="{C8C0FA53-C680-4398-BF9C-01674704FFEC}" destId="{E07F8063-6242-482C-94B7-B9FF7198B70C}" srcOrd="0" destOrd="0" presId="urn:microsoft.com/office/officeart/2005/8/layout/hierarchy3"/>
    <dgm:cxn modelId="{C8AF7C34-78E0-401D-8D49-2B3B90C78093}" type="presOf" srcId="{4414B94C-CF49-4876-A750-68DFD3C90A37}" destId="{21A07F88-3A78-4C03-8237-7F8FEE079D00}" srcOrd="0" destOrd="0" presId="urn:microsoft.com/office/officeart/2005/8/layout/hierarchy3"/>
    <dgm:cxn modelId="{3BF566AA-DC05-4DEF-BC84-5D17B73D0142}" type="presOf" srcId="{04186EDF-3414-46EC-B82C-A92D0D51DE5A}" destId="{67AC641C-6C86-4878-91CD-49B42E3058F5}" srcOrd="0" destOrd="0" presId="urn:microsoft.com/office/officeart/2005/8/layout/hierarchy3"/>
    <dgm:cxn modelId="{0123D8F5-4D5C-40F8-ADBD-EA72117EA8F8}" type="presOf" srcId="{34F4E02F-6C1F-429A-99E0-8586CBE0FC93}" destId="{8A4E4CE3-B59B-44C3-A50C-AA9ACD249EED}" srcOrd="0" destOrd="0" presId="urn:microsoft.com/office/officeart/2005/8/layout/hierarchy3"/>
    <dgm:cxn modelId="{F0A560B3-AD68-45F1-B685-C2C099441809}" srcId="{7C5D471E-6C0F-4D1F-B23D-F7F89786EAA6}" destId="{1A210839-4C90-464B-BD13-1BB057857EAC}" srcOrd="2" destOrd="0" parTransId="{E66B4D6A-C650-47D5-859E-B9617B725132}" sibTransId="{6FABC95A-E5A6-4C11-8186-0E0FB702CA73}"/>
    <dgm:cxn modelId="{4C50538B-998B-4C43-9AEA-BB4485CA95EC}" type="presOf" srcId="{BC3974C4-3D82-4973-8ADC-70E19F2D950A}" destId="{6B76A710-B519-4889-9DA3-909B8D8E29A3}" srcOrd="0" destOrd="0" presId="urn:microsoft.com/office/officeart/2005/8/layout/hierarchy3"/>
    <dgm:cxn modelId="{E6A5FF1A-51FF-4F43-AEE0-D54192371340}" type="presOf" srcId="{D84E8C69-B7F3-48EE-B4E0-0714BA1B2BA7}" destId="{848CFAEB-2E1E-421E-BB93-559058028F56}" srcOrd="0" destOrd="0" presId="urn:microsoft.com/office/officeart/2005/8/layout/hierarchy3"/>
    <dgm:cxn modelId="{34BCFAE5-9A81-491D-81E5-3A58228D7037}" srcId="{39FD864A-2B17-4102-9731-E6E53E303FF4}" destId="{A5DD1D92-74F7-42FC-BC41-DABF57CD47D3}" srcOrd="1" destOrd="0" parTransId="{F5B66941-B56D-4A7A-8444-2A7A72861755}" sibTransId="{780F5CFE-9B1F-40B2-BD50-CE798BD1F046}"/>
    <dgm:cxn modelId="{0FF8133B-2CEE-4924-9884-3A06A6107901}" srcId="{7C5D471E-6C0F-4D1F-B23D-F7F89786EAA6}" destId="{39FD864A-2B17-4102-9731-E6E53E303FF4}" srcOrd="1" destOrd="0" parTransId="{0F24A94A-C956-4119-9957-12145DB64A0B}" sibTransId="{F6194C02-CF3B-4614-B363-BC077BE0B59F}"/>
    <dgm:cxn modelId="{EFEE8B66-F88B-44E8-AB8B-B46AA9BFC043}" srcId="{BC3974C4-3D82-4973-8ADC-70E19F2D950A}" destId="{A58CCB36-DD2C-4114-934B-0D989066F213}" srcOrd="0" destOrd="0" parTransId="{370032D6-BE57-4642-A295-C850D92000FD}" sibTransId="{627BDE23-AE5E-439F-937D-EBB2BC68F470}"/>
    <dgm:cxn modelId="{E96DBBAB-39EE-43F3-83E8-984334C0E6D4}" srcId="{1A210839-4C90-464B-BD13-1BB057857EAC}" destId="{3E9A49CE-1644-4613-8DF9-7C07954AD442}" srcOrd="1" destOrd="0" parTransId="{247037BF-591D-4D76-AAC2-11AA8ECAC63D}" sibTransId="{9F2E2597-62A5-4EA3-B92D-B425377F28E4}"/>
    <dgm:cxn modelId="{670328E4-1521-4D9B-ACAF-0231C1618B85}" srcId="{BC3974C4-3D82-4973-8ADC-70E19F2D950A}" destId="{34F4E02F-6C1F-429A-99E0-8586CBE0FC93}" srcOrd="1" destOrd="0" parTransId="{B2750135-7621-4BE1-96FC-20591FA87915}" sibTransId="{D3EE9232-CED0-4B6C-8D52-5601CC0CAC38}"/>
    <dgm:cxn modelId="{5431937E-0AFE-4049-9135-BD175DCA9C8F}" type="presOf" srcId="{370032D6-BE57-4642-A295-C850D92000FD}" destId="{706389DB-A333-4FA6-8599-EA50BF5C3F40}" srcOrd="0" destOrd="0" presId="urn:microsoft.com/office/officeart/2005/8/layout/hierarchy3"/>
    <dgm:cxn modelId="{9A2B5608-61F7-4856-9B92-63967E36CCE1}" type="presOf" srcId="{579A0E61-F856-4CE6-A4AE-226DC85EA8C1}" destId="{F16161B3-50F1-4AD1-A701-9065C6C41AB3}" srcOrd="0" destOrd="0" presId="urn:microsoft.com/office/officeart/2005/8/layout/hierarchy3"/>
    <dgm:cxn modelId="{3A685AF3-A35D-46A7-BCDA-D776D5C0D3F1}" type="presParOf" srcId="{F718A093-91DC-4BF3-9BDD-1E890A0926C3}" destId="{1AFD40AE-6D78-44F2-B489-F40B53C02757}" srcOrd="0" destOrd="0" presId="urn:microsoft.com/office/officeart/2005/8/layout/hierarchy3"/>
    <dgm:cxn modelId="{38266718-E1C9-4E8A-B4A4-35DB681265E7}" type="presParOf" srcId="{1AFD40AE-6D78-44F2-B489-F40B53C02757}" destId="{B94996A2-0B30-49F0-820D-7B35C987D762}" srcOrd="0" destOrd="0" presId="urn:microsoft.com/office/officeart/2005/8/layout/hierarchy3"/>
    <dgm:cxn modelId="{B0B92FF5-BD0D-40BE-9112-6A2F8871DAE1}" type="presParOf" srcId="{B94996A2-0B30-49F0-820D-7B35C987D762}" destId="{6B76A710-B519-4889-9DA3-909B8D8E29A3}" srcOrd="0" destOrd="0" presId="urn:microsoft.com/office/officeart/2005/8/layout/hierarchy3"/>
    <dgm:cxn modelId="{E8E69C2E-4807-45A7-AC95-6F8FB79D613B}" type="presParOf" srcId="{B94996A2-0B30-49F0-820D-7B35C987D762}" destId="{5A6CF7E6-FA8B-471A-8A8E-C86D297E5590}" srcOrd="1" destOrd="0" presId="urn:microsoft.com/office/officeart/2005/8/layout/hierarchy3"/>
    <dgm:cxn modelId="{6D6AEBF9-DE95-4408-9E69-A8ABEB1633DC}" type="presParOf" srcId="{1AFD40AE-6D78-44F2-B489-F40B53C02757}" destId="{81A63FDA-8841-4A1B-956B-8AB210FBAF21}" srcOrd="1" destOrd="0" presId="urn:microsoft.com/office/officeart/2005/8/layout/hierarchy3"/>
    <dgm:cxn modelId="{24FCC04C-8958-4863-8D46-7C7B5CC5FB54}" type="presParOf" srcId="{81A63FDA-8841-4A1B-956B-8AB210FBAF21}" destId="{706389DB-A333-4FA6-8599-EA50BF5C3F40}" srcOrd="0" destOrd="0" presId="urn:microsoft.com/office/officeart/2005/8/layout/hierarchy3"/>
    <dgm:cxn modelId="{DCEBA886-C3D7-4C3D-8976-24520920D99C}" type="presParOf" srcId="{81A63FDA-8841-4A1B-956B-8AB210FBAF21}" destId="{50432033-A759-4836-B7D5-5FB6E4D5127F}" srcOrd="1" destOrd="0" presId="urn:microsoft.com/office/officeart/2005/8/layout/hierarchy3"/>
    <dgm:cxn modelId="{5F7619E1-7481-4C18-9C9E-C4986FD382F9}" type="presParOf" srcId="{81A63FDA-8841-4A1B-956B-8AB210FBAF21}" destId="{6D095C95-2E91-4798-9B92-5F8B72B3C2B7}" srcOrd="2" destOrd="0" presId="urn:microsoft.com/office/officeart/2005/8/layout/hierarchy3"/>
    <dgm:cxn modelId="{21AFA5B7-1185-4BE3-97FA-D85419CA5B07}" type="presParOf" srcId="{81A63FDA-8841-4A1B-956B-8AB210FBAF21}" destId="{8A4E4CE3-B59B-44C3-A50C-AA9ACD249EED}" srcOrd="3" destOrd="0" presId="urn:microsoft.com/office/officeart/2005/8/layout/hierarchy3"/>
    <dgm:cxn modelId="{788CC837-FFEF-4336-A6EE-1DDE80C2981F}" type="presParOf" srcId="{81A63FDA-8841-4A1B-956B-8AB210FBAF21}" destId="{F16161B3-50F1-4AD1-A701-9065C6C41AB3}" srcOrd="4" destOrd="0" presId="urn:microsoft.com/office/officeart/2005/8/layout/hierarchy3"/>
    <dgm:cxn modelId="{207401D4-10C5-40A5-B502-E3DC01517A4D}" type="presParOf" srcId="{81A63FDA-8841-4A1B-956B-8AB210FBAF21}" destId="{67AC641C-6C86-4878-91CD-49B42E3058F5}" srcOrd="5" destOrd="0" presId="urn:microsoft.com/office/officeart/2005/8/layout/hierarchy3"/>
    <dgm:cxn modelId="{4DBEFE2D-4011-4932-9114-68417AB6CB2B}" type="presParOf" srcId="{F718A093-91DC-4BF3-9BDD-1E890A0926C3}" destId="{ECFEED51-DA85-4B83-A9EA-E6A91B128937}" srcOrd="1" destOrd="0" presId="urn:microsoft.com/office/officeart/2005/8/layout/hierarchy3"/>
    <dgm:cxn modelId="{EF86E301-0591-4075-85E9-452C7D7DF95F}" type="presParOf" srcId="{ECFEED51-DA85-4B83-A9EA-E6A91B128937}" destId="{E703BFD7-EBC3-464A-96B7-A88BC85AA1F0}" srcOrd="0" destOrd="0" presId="urn:microsoft.com/office/officeart/2005/8/layout/hierarchy3"/>
    <dgm:cxn modelId="{BDAF4243-4DD8-4641-9DD3-81C7D65D49E5}" type="presParOf" srcId="{E703BFD7-EBC3-464A-96B7-A88BC85AA1F0}" destId="{CC7B10AB-51E6-42B5-B887-8BCBF82B5F73}" srcOrd="0" destOrd="0" presId="urn:microsoft.com/office/officeart/2005/8/layout/hierarchy3"/>
    <dgm:cxn modelId="{23D6DFC9-BB5F-478D-AF2B-3FD53508DB39}" type="presParOf" srcId="{E703BFD7-EBC3-464A-96B7-A88BC85AA1F0}" destId="{BA0C94A3-BBBE-4FCB-847A-A2312B20CFF7}" srcOrd="1" destOrd="0" presId="urn:microsoft.com/office/officeart/2005/8/layout/hierarchy3"/>
    <dgm:cxn modelId="{7EBF3F5E-C8E2-4A19-83E4-B61891E77219}" type="presParOf" srcId="{ECFEED51-DA85-4B83-A9EA-E6A91B128937}" destId="{4DF3DDF3-B514-4713-AABC-C55B8AA50CD6}" srcOrd="1" destOrd="0" presId="urn:microsoft.com/office/officeart/2005/8/layout/hierarchy3"/>
    <dgm:cxn modelId="{56E265EF-50C4-499F-8381-3E80ADA7F3A2}" type="presParOf" srcId="{4DF3DDF3-B514-4713-AABC-C55B8AA50CD6}" destId="{E9D2EEE6-CFD1-4573-BDCA-FF4259A8A6DB}" srcOrd="0" destOrd="0" presId="urn:microsoft.com/office/officeart/2005/8/layout/hierarchy3"/>
    <dgm:cxn modelId="{D3EFB3AF-8546-4BB0-AD2E-918106489FFA}" type="presParOf" srcId="{4DF3DDF3-B514-4713-AABC-C55B8AA50CD6}" destId="{0694F660-336E-407E-8847-D549A17CDCCA}" srcOrd="1" destOrd="0" presId="urn:microsoft.com/office/officeart/2005/8/layout/hierarchy3"/>
    <dgm:cxn modelId="{C85F3423-D737-4D9B-91FC-E6C3247262F9}" type="presParOf" srcId="{4DF3DDF3-B514-4713-AABC-C55B8AA50CD6}" destId="{E6976D37-3A0F-4D47-9946-56892492B243}" srcOrd="2" destOrd="0" presId="urn:microsoft.com/office/officeart/2005/8/layout/hierarchy3"/>
    <dgm:cxn modelId="{D5E10478-F2F4-4E59-A366-D4578F1BC607}" type="presParOf" srcId="{4DF3DDF3-B514-4713-AABC-C55B8AA50CD6}" destId="{C26C34DF-C25A-42F9-B238-EB569A311FAC}" srcOrd="3" destOrd="0" presId="urn:microsoft.com/office/officeart/2005/8/layout/hierarchy3"/>
    <dgm:cxn modelId="{9083D289-3A6A-4090-B451-CD9DADFF8A8F}" type="presParOf" srcId="{4DF3DDF3-B514-4713-AABC-C55B8AA50CD6}" destId="{93206F0F-6576-40D1-8B32-0DBA1C5CB54F}" srcOrd="4" destOrd="0" presId="urn:microsoft.com/office/officeart/2005/8/layout/hierarchy3"/>
    <dgm:cxn modelId="{E75EC124-1798-4355-AEA9-6E96A34D5C1B}" type="presParOf" srcId="{4DF3DDF3-B514-4713-AABC-C55B8AA50CD6}" destId="{848CFAEB-2E1E-421E-BB93-559058028F56}" srcOrd="5" destOrd="0" presId="urn:microsoft.com/office/officeart/2005/8/layout/hierarchy3"/>
    <dgm:cxn modelId="{200F871F-F939-4484-A0B9-36CDA61EB333}" type="presParOf" srcId="{F718A093-91DC-4BF3-9BDD-1E890A0926C3}" destId="{6C89DA3D-F504-48EC-A034-CDB06219B920}" srcOrd="2" destOrd="0" presId="urn:microsoft.com/office/officeart/2005/8/layout/hierarchy3"/>
    <dgm:cxn modelId="{B0A821C7-7951-44CE-82F1-855312430B45}" type="presParOf" srcId="{6C89DA3D-F504-48EC-A034-CDB06219B920}" destId="{26A30053-77FF-4A6C-B28B-39D6D56F0B09}" srcOrd="0" destOrd="0" presId="urn:microsoft.com/office/officeart/2005/8/layout/hierarchy3"/>
    <dgm:cxn modelId="{F462A559-A75C-4ACB-8243-858BE23C8E12}" type="presParOf" srcId="{26A30053-77FF-4A6C-B28B-39D6D56F0B09}" destId="{B51688B4-6ECB-4D2E-A055-C5952DBA77F9}" srcOrd="0" destOrd="0" presId="urn:microsoft.com/office/officeart/2005/8/layout/hierarchy3"/>
    <dgm:cxn modelId="{FF1C5E19-B0C0-4C53-9E05-84B8EEEA0093}" type="presParOf" srcId="{26A30053-77FF-4A6C-B28B-39D6D56F0B09}" destId="{2002F1C6-1F3D-4E2A-B46A-ECC79D4C29EC}" srcOrd="1" destOrd="0" presId="urn:microsoft.com/office/officeart/2005/8/layout/hierarchy3"/>
    <dgm:cxn modelId="{AA9F30B6-C65D-4529-8F50-1DDF8C710BD8}" type="presParOf" srcId="{6C89DA3D-F504-48EC-A034-CDB06219B920}" destId="{14A1C918-C153-4B77-A2AE-D36FA5266070}" srcOrd="1" destOrd="0" presId="urn:microsoft.com/office/officeart/2005/8/layout/hierarchy3"/>
    <dgm:cxn modelId="{96A9CE5D-B150-483D-A9C2-7772856FDE61}" type="presParOf" srcId="{14A1C918-C153-4B77-A2AE-D36FA5266070}" destId="{91AC10C9-6D06-41FF-8CFD-8C14C81B3744}" srcOrd="0" destOrd="0" presId="urn:microsoft.com/office/officeart/2005/8/layout/hierarchy3"/>
    <dgm:cxn modelId="{839933A2-3C0F-42AA-ACF1-A9ED479E86A3}" type="presParOf" srcId="{14A1C918-C153-4B77-A2AE-D36FA5266070}" destId="{E07F8063-6242-482C-94B7-B9FF7198B70C}" srcOrd="1" destOrd="0" presId="urn:microsoft.com/office/officeart/2005/8/layout/hierarchy3"/>
    <dgm:cxn modelId="{9E95279D-50B6-4A86-8C73-C25B8FB97509}" type="presParOf" srcId="{14A1C918-C153-4B77-A2AE-D36FA5266070}" destId="{6CDD942B-FD55-409A-A1E4-03A76FCA5F76}" srcOrd="2" destOrd="0" presId="urn:microsoft.com/office/officeart/2005/8/layout/hierarchy3"/>
    <dgm:cxn modelId="{882D1E04-B6F0-4D99-B280-559EDAD8E6EC}" type="presParOf" srcId="{14A1C918-C153-4B77-A2AE-D36FA5266070}" destId="{D3C46E9B-EEAF-4738-BE3F-7043EA3A9107}" srcOrd="3" destOrd="0" presId="urn:microsoft.com/office/officeart/2005/8/layout/hierarchy3"/>
    <dgm:cxn modelId="{C9C4147A-F634-45CF-8D45-33D69BF6A1A8}" type="presParOf" srcId="{14A1C918-C153-4B77-A2AE-D36FA5266070}" destId="{AD2538D9-CF9D-4CF9-A422-A0B4BB1BE18B}" srcOrd="4" destOrd="0" presId="urn:microsoft.com/office/officeart/2005/8/layout/hierarchy3"/>
    <dgm:cxn modelId="{0EAC4E96-4103-4AB8-AF32-57AB58A2EA3B}" type="presParOf" srcId="{14A1C918-C153-4B77-A2AE-D36FA5266070}" destId="{21A07F88-3A78-4C03-8237-7F8FEE079D00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0A0AA7-FCDE-4FA5-96F1-485F6C962B96}" type="doc">
      <dgm:prSet loTypeId="urn:microsoft.com/office/officeart/2005/8/layout/cycle5" loCatId="cycle" qsTypeId="urn:microsoft.com/office/officeart/2005/8/quickstyle/3d9" qsCatId="3D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CFB444FE-5C68-418B-BB67-1C4EE71CABE7}">
      <dgm:prSet phldrT="[Текст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>
        <a:solidFill>
          <a:srgbClr val="C00000"/>
        </a:solidFill>
      </dgm:spPr>
      <dgm:t>
        <a:bodyPr/>
        <a:lstStyle/>
        <a:p>
          <a:r>
            <a:rPr lang="ru-RU" sz="1400" dirty="0" smtClean="0">
              <a:solidFill>
                <a:schemeClr val="bg1"/>
              </a:solidFill>
              <a:latin typeface="Arial Black" pitchFamily="34" charset="0"/>
            </a:rPr>
            <a:t>ПЛАВИЛЬЩИК</a:t>
          </a:r>
          <a:endParaRPr lang="ru-RU" sz="1400" dirty="0">
            <a:solidFill>
              <a:schemeClr val="bg1"/>
            </a:solidFill>
            <a:latin typeface="Arial Black" pitchFamily="34" charset="0"/>
          </a:endParaRPr>
        </a:p>
      </dgm:t>
    </dgm:pt>
    <dgm:pt modelId="{899E1794-CD33-40D4-80D3-C85C820D2E0E}" type="parTrans" cxnId="{A45E3FDC-46D2-4562-AEC3-6E72C13DF010}">
      <dgm:prSet/>
      <dgm:spPr/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606D2BCC-A64E-4154-ABB4-E6CC926A82F9}" type="sibTrans" cxnId="{A45E3FDC-46D2-4562-AEC3-6E72C13DF010}">
      <dgm:prSet/>
      <dgm:spPr/>
      <dgm:t>
        <a:bodyPr/>
        <a:lstStyle/>
        <a:p>
          <a:endParaRPr lang="ru-RU" sz="2400" b="1">
            <a:solidFill>
              <a:srgbClr val="002060"/>
            </a:solidFill>
          </a:endParaRPr>
        </a:p>
      </dgm:t>
    </dgm:pt>
    <dgm:pt modelId="{C4C49AE3-223A-4EBB-9FC6-6CD5298B4C64}">
      <dgm:prSet phldrT="[Текст]" custT="1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>
        <a:solidFill>
          <a:srgbClr val="002060"/>
        </a:solidFill>
      </dgm:spPr>
      <dgm:t>
        <a:bodyPr/>
        <a:lstStyle/>
        <a:p>
          <a:r>
            <a:rPr lang="ru-RU" sz="1400" dirty="0" smtClean="0">
              <a:solidFill>
                <a:schemeClr val="bg1"/>
              </a:solidFill>
              <a:latin typeface="Arial Black" pitchFamily="34" charset="0"/>
            </a:rPr>
            <a:t>СТАНОЧНИК</a:t>
          </a:r>
          <a:endParaRPr lang="ru-RU" sz="1400" dirty="0">
            <a:solidFill>
              <a:schemeClr val="bg1"/>
            </a:solidFill>
            <a:latin typeface="Arial Black" pitchFamily="34" charset="0"/>
          </a:endParaRPr>
        </a:p>
      </dgm:t>
    </dgm:pt>
    <dgm:pt modelId="{45CF2FAB-941D-4BAB-B953-69712F5014E3}" type="parTrans" cxnId="{52C4168E-E605-4A97-9E8A-AEFB11A43C7E}">
      <dgm:prSet/>
      <dgm:spPr/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6FF7B7F7-6927-4B8D-8E0A-9608CE2936BE}" type="sibTrans" cxnId="{52C4168E-E605-4A97-9E8A-AEFB11A43C7E}">
      <dgm:prSet/>
      <dgm:spPr/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1C39A819-7A7D-4A60-961F-DE714FEFC7D5}">
      <dgm:prSet phldrT="[Текст]" custT="1"/>
      <dgm:spPr>
        <a:solidFill>
          <a:srgbClr val="FF6600"/>
        </a:solidFill>
      </dgm:spPr>
      <dgm:t>
        <a:bodyPr/>
        <a:lstStyle/>
        <a:p>
          <a:r>
            <a:rPr lang="ru-RU" sz="1400" dirty="0" smtClean="0">
              <a:solidFill>
                <a:schemeClr val="bg1"/>
              </a:solidFill>
              <a:latin typeface="Arial Black" pitchFamily="34" charset="0"/>
            </a:rPr>
            <a:t>КОНТРОЛЕР</a:t>
          </a:r>
          <a:endParaRPr lang="ru-RU" sz="1400" dirty="0">
            <a:solidFill>
              <a:schemeClr val="bg1"/>
            </a:solidFill>
            <a:latin typeface="Arial Black" pitchFamily="34" charset="0"/>
          </a:endParaRPr>
        </a:p>
      </dgm:t>
    </dgm:pt>
    <dgm:pt modelId="{53EFBE5D-A9B4-4792-A421-44F2BDB4A2D2}" type="parTrans" cxnId="{71113DA7-25EE-4CA2-8FFD-BF29143764D8}">
      <dgm:prSet/>
      <dgm:spPr/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A4B6228C-3F10-4835-8B6D-21CC52B88A2F}" type="sibTrans" cxnId="{71113DA7-25EE-4CA2-8FFD-BF29143764D8}">
      <dgm:prSet/>
      <dgm:spPr/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A0667858-7C72-48ED-97CA-7A12112E4872}">
      <dgm:prSet phldrT="[Текст]" custT="1"/>
      <dgm:spPr>
        <a:blipFill rotWithShape="0">
          <a:blip xmlns:r="http://schemas.openxmlformats.org/officeDocument/2006/relationships" r:embed="rId1"/>
          <a:tile tx="0" ty="0" sx="100000" sy="100000" flip="none" algn="tl"/>
        </a:blipFill>
      </dgm:spPr>
      <dgm:t>
        <a:bodyPr/>
        <a:lstStyle/>
        <a:p>
          <a:r>
            <a:rPr lang="ru-RU" sz="1200" dirty="0" smtClean="0">
              <a:solidFill>
                <a:srgbClr val="002060"/>
              </a:solidFill>
              <a:latin typeface="Arial Black" pitchFamily="34" charset="0"/>
            </a:rPr>
            <a:t>ЭЛЕКТРОМОНТЕР</a:t>
          </a:r>
          <a:endParaRPr lang="ru-RU" sz="1200" dirty="0">
            <a:solidFill>
              <a:srgbClr val="002060"/>
            </a:solidFill>
            <a:latin typeface="Arial Black" pitchFamily="34" charset="0"/>
          </a:endParaRPr>
        </a:p>
      </dgm:t>
    </dgm:pt>
    <dgm:pt modelId="{483BC30D-E0F7-4710-861D-25CFD237521B}" type="parTrans" cxnId="{78DBCCD2-538F-4E16-9FBD-1EF5369FEFA6}">
      <dgm:prSet/>
      <dgm:spPr/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EAED56BD-60DD-482A-8A84-A1533BE98C6D}" type="sibTrans" cxnId="{78DBCCD2-538F-4E16-9FBD-1EF5369FEFA6}">
      <dgm:prSet/>
      <dgm:spPr/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266A7B72-F69A-4A40-A6C1-E0ED72F7FED0}">
      <dgm:prSet phldrT="[Текст]" custT="1"/>
      <dgm:spPr>
        <a:solidFill>
          <a:srgbClr val="00FF00"/>
        </a:solidFill>
      </dgm:spPr>
      <dgm:t>
        <a:bodyPr/>
        <a:lstStyle/>
        <a:p>
          <a:r>
            <a:rPr lang="ru-RU" sz="1100" dirty="0" smtClean="0">
              <a:solidFill>
                <a:srgbClr val="002060"/>
              </a:solidFill>
              <a:latin typeface="Arial Black" pitchFamily="34" charset="0"/>
            </a:rPr>
            <a:t>МАШИНИСТ </a:t>
          </a:r>
        </a:p>
        <a:p>
          <a:r>
            <a:rPr lang="ru-RU" sz="1100" dirty="0" smtClean="0">
              <a:solidFill>
                <a:srgbClr val="002060"/>
              </a:solidFill>
              <a:latin typeface="Arial Black" pitchFamily="34" charset="0"/>
            </a:rPr>
            <a:t>КРАНА</a:t>
          </a:r>
          <a:endParaRPr lang="ru-RU" sz="1100" dirty="0">
            <a:solidFill>
              <a:srgbClr val="002060"/>
            </a:solidFill>
            <a:latin typeface="Arial Black" pitchFamily="34" charset="0"/>
          </a:endParaRPr>
        </a:p>
      </dgm:t>
    </dgm:pt>
    <dgm:pt modelId="{0854DC70-E4B1-4F70-B993-15A76F6CC276}" type="parTrans" cxnId="{5C3B9B08-95C0-46D9-B7D6-E096A3300550}">
      <dgm:prSet/>
      <dgm:spPr/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1EA764FE-20AD-43F6-82A6-D1552EFA5A3F}" type="sibTrans" cxnId="{5C3B9B08-95C0-46D9-B7D6-E096A3300550}">
      <dgm:prSet/>
      <dgm:spPr/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06E6E68D-3B46-447E-B0BC-C490E227046C}">
      <dgm:prSet custT="1"/>
      <dgm:spPr>
        <a:solidFill>
          <a:srgbClr val="FFFF00"/>
        </a:solidFill>
      </dgm:spPr>
      <dgm:t>
        <a:bodyPr/>
        <a:lstStyle/>
        <a:p>
          <a:r>
            <a:rPr lang="ru-RU" sz="1600" dirty="0" smtClean="0">
              <a:solidFill>
                <a:srgbClr val="002060"/>
              </a:solidFill>
              <a:latin typeface="Arial Black" pitchFamily="34" charset="0"/>
            </a:rPr>
            <a:t>СВАРЩИК</a:t>
          </a:r>
          <a:endParaRPr lang="ru-RU" sz="1600" dirty="0">
            <a:solidFill>
              <a:srgbClr val="002060"/>
            </a:solidFill>
            <a:latin typeface="Arial Black" pitchFamily="34" charset="0"/>
          </a:endParaRPr>
        </a:p>
      </dgm:t>
    </dgm:pt>
    <dgm:pt modelId="{427A4E5D-1756-4B33-9F36-2BCB0CD4164D}" type="parTrans" cxnId="{48A0DEEE-50D4-4E04-AF29-88B212A7E628}">
      <dgm:prSet/>
      <dgm:spPr/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DC8EBB68-AB92-47AF-ABF2-3E581F0ABD7B}" type="sibTrans" cxnId="{48A0DEEE-50D4-4E04-AF29-88B212A7E628}">
      <dgm:prSet/>
      <dgm:spPr/>
      <dgm:t>
        <a:bodyPr/>
        <a:lstStyle/>
        <a:p>
          <a:endParaRPr lang="ru-RU" b="1">
            <a:solidFill>
              <a:srgbClr val="002060"/>
            </a:solidFill>
          </a:endParaRPr>
        </a:p>
      </dgm:t>
    </dgm:pt>
    <dgm:pt modelId="{5BB93821-712A-4FBB-B5D3-890729724111}" type="pres">
      <dgm:prSet presAssocID="{370A0AA7-FCDE-4FA5-96F1-485F6C962B96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7E05987-E3E0-47B1-8869-A0A9F598D328}" type="pres">
      <dgm:prSet presAssocID="{CFB444FE-5C68-418B-BB67-1C4EE71CABE7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C9D75E-C890-42F5-8262-37F369075CD8}" type="pres">
      <dgm:prSet presAssocID="{CFB444FE-5C68-418B-BB67-1C4EE71CABE7}" presName="spNode" presStyleCnt="0"/>
      <dgm:spPr/>
    </dgm:pt>
    <dgm:pt modelId="{E480605A-C792-4433-95C3-556CE145AC82}" type="pres">
      <dgm:prSet presAssocID="{606D2BCC-A64E-4154-ABB4-E6CC926A82F9}" presName="sibTrans" presStyleLbl="sibTrans1D1" presStyleIdx="0" presStyleCnt="6"/>
      <dgm:spPr/>
      <dgm:t>
        <a:bodyPr/>
        <a:lstStyle/>
        <a:p>
          <a:endParaRPr lang="ru-RU"/>
        </a:p>
      </dgm:t>
    </dgm:pt>
    <dgm:pt modelId="{384C904D-A88A-414A-A98A-DE2D15E3A0BF}" type="pres">
      <dgm:prSet presAssocID="{C4C49AE3-223A-4EBB-9FC6-6CD5298B4C64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64D0EE-EC45-42EF-95F4-84DE905CEAFF}" type="pres">
      <dgm:prSet presAssocID="{C4C49AE3-223A-4EBB-9FC6-6CD5298B4C64}" presName="spNode" presStyleCnt="0"/>
      <dgm:spPr/>
    </dgm:pt>
    <dgm:pt modelId="{B96D842C-59E0-4FA6-924F-26B2B6110D0A}" type="pres">
      <dgm:prSet presAssocID="{6FF7B7F7-6927-4B8D-8E0A-9608CE2936BE}" presName="sibTrans" presStyleLbl="sibTrans1D1" presStyleIdx="1" presStyleCnt="6"/>
      <dgm:spPr/>
      <dgm:t>
        <a:bodyPr/>
        <a:lstStyle/>
        <a:p>
          <a:endParaRPr lang="ru-RU"/>
        </a:p>
      </dgm:t>
    </dgm:pt>
    <dgm:pt modelId="{EC8C5906-5FFA-49AB-B904-035653BA2654}" type="pres">
      <dgm:prSet presAssocID="{1C39A819-7A7D-4A60-961F-DE714FEFC7D5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9539DA-DB1E-41B0-A6E5-57857174CC93}" type="pres">
      <dgm:prSet presAssocID="{1C39A819-7A7D-4A60-961F-DE714FEFC7D5}" presName="spNode" presStyleCnt="0"/>
      <dgm:spPr/>
    </dgm:pt>
    <dgm:pt modelId="{F169AF29-30EF-47F4-A11E-5D98EFF10B0A}" type="pres">
      <dgm:prSet presAssocID="{A4B6228C-3F10-4835-8B6D-21CC52B88A2F}" presName="sibTrans" presStyleLbl="sibTrans1D1" presStyleIdx="2" presStyleCnt="6"/>
      <dgm:spPr/>
      <dgm:t>
        <a:bodyPr/>
        <a:lstStyle/>
        <a:p>
          <a:endParaRPr lang="ru-RU"/>
        </a:p>
      </dgm:t>
    </dgm:pt>
    <dgm:pt modelId="{D586AFDB-8A3C-4A42-9207-A63A756D3C82}" type="pres">
      <dgm:prSet presAssocID="{A0667858-7C72-48ED-97CA-7A12112E4872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245E09-0E83-4726-B3B8-1B4439278841}" type="pres">
      <dgm:prSet presAssocID="{A0667858-7C72-48ED-97CA-7A12112E4872}" presName="spNode" presStyleCnt="0"/>
      <dgm:spPr/>
    </dgm:pt>
    <dgm:pt modelId="{B4D11F02-6C2F-48BF-B91E-78F5F87195FC}" type="pres">
      <dgm:prSet presAssocID="{EAED56BD-60DD-482A-8A84-A1533BE98C6D}" presName="sibTrans" presStyleLbl="sibTrans1D1" presStyleIdx="3" presStyleCnt="6"/>
      <dgm:spPr/>
      <dgm:t>
        <a:bodyPr/>
        <a:lstStyle/>
        <a:p>
          <a:endParaRPr lang="ru-RU"/>
        </a:p>
      </dgm:t>
    </dgm:pt>
    <dgm:pt modelId="{413D8E8D-A208-486F-9315-CE4619414E69}" type="pres">
      <dgm:prSet presAssocID="{266A7B72-F69A-4A40-A6C1-E0ED72F7FED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C71064-CB7C-4631-BAEE-825AD3529A40}" type="pres">
      <dgm:prSet presAssocID="{266A7B72-F69A-4A40-A6C1-E0ED72F7FED0}" presName="spNode" presStyleCnt="0"/>
      <dgm:spPr/>
    </dgm:pt>
    <dgm:pt modelId="{ED0E67DF-F1F0-4F83-8633-1EB9BC8C6DB7}" type="pres">
      <dgm:prSet presAssocID="{1EA764FE-20AD-43F6-82A6-D1552EFA5A3F}" presName="sibTrans" presStyleLbl="sibTrans1D1" presStyleIdx="4" presStyleCnt="6"/>
      <dgm:spPr/>
      <dgm:t>
        <a:bodyPr/>
        <a:lstStyle/>
        <a:p>
          <a:endParaRPr lang="ru-RU"/>
        </a:p>
      </dgm:t>
    </dgm:pt>
    <dgm:pt modelId="{259767E9-C1C5-4852-BA8D-6F57719E510E}" type="pres">
      <dgm:prSet presAssocID="{06E6E68D-3B46-447E-B0BC-C490E227046C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2C22DF-842E-4811-AAEF-AEB216846DBD}" type="pres">
      <dgm:prSet presAssocID="{06E6E68D-3B46-447E-B0BC-C490E227046C}" presName="spNode" presStyleCnt="0"/>
      <dgm:spPr/>
    </dgm:pt>
    <dgm:pt modelId="{D97AC2AD-0DD5-40E7-B403-D6472443A350}" type="pres">
      <dgm:prSet presAssocID="{DC8EBB68-AB92-47AF-ABF2-3E581F0ABD7B}" presName="sibTrans" presStyleLbl="sibTrans1D1" presStyleIdx="5" presStyleCnt="6"/>
      <dgm:spPr/>
      <dgm:t>
        <a:bodyPr/>
        <a:lstStyle/>
        <a:p>
          <a:endParaRPr lang="ru-RU"/>
        </a:p>
      </dgm:t>
    </dgm:pt>
  </dgm:ptLst>
  <dgm:cxnLst>
    <dgm:cxn modelId="{747FAF35-CA25-4AF4-B514-29E6E58ABE92}" type="presOf" srcId="{DC8EBB68-AB92-47AF-ABF2-3E581F0ABD7B}" destId="{D97AC2AD-0DD5-40E7-B403-D6472443A350}" srcOrd="0" destOrd="0" presId="urn:microsoft.com/office/officeart/2005/8/layout/cycle5"/>
    <dgm:cxn modelId="{A45E3FDC-46D2-4562-AEC3-6E72C13DF010}" srcId="{370A0AA7-FCDE-4FA5-96F1-485F6C962B96}" destId="{CFB444FE-5C68-418B-BB67-1C4EE71CABE7}" srcOrd="0" destOrd="0" parTransId="{899E1794-CD33-40D4-80D3-C85C820D2E0E}" sibTransId="{606D2BCC-A64E-4154-ABB4-E6CC926A82F9}"/>
    <dgm:cxn modelId="{9789A450-824C-4465-873D-A2849E77187C}" type="presOf" srcId="{A0667858-7C72-48ED-97CA-7A12112E4872}" destId="{D586AFDB-8A3C-4A42-9207-A63A756D3C82}" srcOrd="0" destOrd="0" presId="urn:microsoft.com/office/officeart/2005/8/layout/cycle5"/>
    <dgm:cxn modelId="{CCA2BD5C-F49F-4220-BAF6-323BE6F2AA29}" type="presOf" srcId="{6FF7B7F7-6927-4B8D-8E0A-9608CE2936BE}" destId="{B96D842C-59E0-4FA6-924F-26B2B6110D0A}" srcOrd="0" destOrd="0" presId="urn:microsoft.com/office/officeart/2005/8/layout/cycle5"/>
    <dgm:cxn modelId="{927D19AD-6179-4546-AD99-F9E719D25123}" type="presOf" srcId="{370A0AA7-FCDE-4FA5-96F1-485F6C962B96}" destId="{5BB93821-712A-4FBB-B5D3-890729724111}" srcOrd="0" destOrd="0" presId="urn:microsoft.com/office/officeart/2005/8/layout/cycle5"/>
    <dgm:cxn modelId="{42E40FBF-3881-403C-B39F-C6E36D01AD13}" type="presOf" srcId="{CFB444FE-5C68-418B-BB67-1C4EE71CABE7}" destId="{D7E05987-E3E0-47B1-8869-A0A9F598D328}" srcOrd="0" destOrd="0" presId="urn:microsoft.com/office/officeart/2005/8/layout/cycle5"/>
    <dgm:cxn modelId="{48A0DEEE-50D4-4E04-AF29-88B212A7E628}" srcId="{370A0AA7-FCDE-4FA5-96F1-485F6C962B96}" destId="{06E6E68D-3B46-447E-B0BC-C490E227046C}" srcOrd="5" destOrd="0" parTransId="{427A4E5D-1756-4B33-9F36-2BCB0CD4164D}" sibTransId="{DC8EBB68-AB92-47AF-ABF2-3E581F0ABD7B}"/>
    <dgm:cxn modelId="{1DE45A50-44B0-4E5C-A9A8-44A02F1683B8}" type="presOf" srcId="{1EA764FE-20AD-43F6-82A6-D1552EFA5A3F}" destId="{ED0E67DF-F1F0-4F83-8633-1EB9BC8C6DB7}" srcOrd="0" destOrd="0" presId="urn:microsoft.com/office/officeart/2005/8/layout/cycle5"/>
    <dgm:cxn modelId="{0AD14241-4888-4CE7-9652-827FD80CBD45}" type="presOf" srcId="{06E6E68D-3B46-447E-B0BC-C490E227046C}" destId="{259767E9-C1C5-4852-BA8D-6F57719E510E}" srcOrd="0" destOrd="0" presId="urn:microsoft.com/office/officeart/2005/8/layout/cycle5"/>
    <dgm:cxn modelId="{71113DA7-25EE-4CA2-8FFD-BF29143764D8}" srcId="{370A0AA7-FCDE-4FA5-96F1-485F6C962B96}" destId="{1C39A819-7A7D-4A60-961F-DE714FEFC7D5}" srcOrd="2" destOrd="0" parTransId="{53EFBE5D-A9B4-4792-A421-44F2BDB4A2D2}" sibTransId="{A4B6228C-3F10-4835-8B6D-21CC52B88A2F}"/>
    <dgm:cxn modelId="{9B890FFF-ABFA-4BEC-A175-02652B8B42F9}" type="presOf" srcId="{EAED56BD-60DD-482A-8A84-A1533BE98C6D}" destId="{B4D11F02-6C2F-48BF-B91E-78F5F87195FC}" srcOrd="0" destOrd="0" presId="urn:microsoft.com/office/officeart/2005/8/layout/cycle5"/>
    <dgm:cxn modelId="{DF4D692D-6944-4E74-900D-EEEE1A938EF7}" type="presOf" srcId="{C4C49AE3-223A-4EBB-9FC6-6CD5298B4C64}" destId="{384C904D-A88A-414A-A98A-DE2D15E3A0BF}" srcOrd="0" destOrd="0" presId="urn:microsoft.com/office/officeart/2005/8/layout/cycle5"/>
    <dgm:cxn modelId="{B7B915F3-37AB-45F7-971E-8123B4507617}" type="presOf" srcId="{1C39A819-7A7D-4A60-961F-DE714FEFC7D5}" destId="{EC8C5906-5FFA-49AB-B904-035653BA2654}" srcOrd="0" destOrd="0" presId="urn:microsoft.com/office/officeart/2005/8/layout/cycle5"/>
    <dgm:cxn modelId="{634C00EC-3D01-46E3-9B00-42E69CF5B53C}" type="presOf" srcId="{A4B6228C-3F10-4835-8B6D-21CC52B88A2F}" destId="{F169AF29-30EF-47F4-A11E-5D98EFF10B0A}" srcOrd="0" destOrd="0" presId="urn:microsoft.com/office/officeart/2005/8/layout/cycle5"/>
    <dgm:cxn modelId="{5C3B9B08-95C0-46D9-B7D6-E096A3300550}" srcId="{370A0AA7-FCDE-4FA5-96F1-485F6C962B96}" destId="{266A7B72-F69A-4A40-A6C1-E0ED72F7FED0}" srcOrd="4" destOrd="0" parTransId="{0854DC70-E4B1-4F70-B993-15A76F6CC276}" sibTransId="{1EA764FE-20AD-43F6-82A6-D1552EFA5A3F}"/>
    <dgm:cxn modelId="{78DBCCD2-538F-4E16-9FBD-1EF5369FEFA6}" srcId="{370A0AA7-FCDE-4FA5-96F1-485F6C962B96}" destId="{A0667858-7C72-48ED-97CA-7A12112E4872}" srcOrd="3" destOrd="0" parTransId="{483BC30D-E0F7-4710-861D-25CFD237521B}" sibTransId="{EAED56BD-60DD-482A-8A84-A1533BE98C6D}"/>
    <dgm:cxn modelId="{52C4168E-E605-4A97-9E8A-AEFB11A43C7E}" srcId="{370A0AA7-FCDE-4FA5-96F1-485F6C962B96}" destId="{C4C49AE3-223A-4EBB-9FC6-6CD5298B4C64}" srcOrd="1" destOrd="0" parTransId="{45CF2FAB-941D-4BAB-B953-69712F5014E3}" sibTransId="{6FF7B7F7-6927-4B8D-8E0A-9608CE2936BE}"/>
    <dgm:cxn modelId="{A856E30A-4E55-4688-8EA7-A347A36C3FC6}" type="presOf" srcId="{606D2BCC-A64E-4154-ABB4-E6CC926A82F9}" destId="{E480605A-C792-4433-95C3-556CE145AC82}" srcOrd="0" destOrd="0" presId="urn:microsoft.com/office/officeart/2005/8/layout/cycle5"/>
    <dgm:cxn modelId="{2BA1829C-644E-44AC-99D0-31B5F10221EA}" type="presOf" srcId="{266A7B72-F69A-4A40-A6C1-E0ED72F7FED0}" destId="{413D8E8D-A208-486F-9315-CE4619414E69}" srcOrd="0" destOrd="0" presId="urn:microsoft.com/office/officeart/2005/8/layout/cycle5"/>
    <dgm:cxn modelId="{3B4AD1D2-D554-4BC5-9D0D-09B8DA51B7F3}" type="presParOf" srcId="{5BB93821-712A-4FBB-B5D3-890729724111}" destId="{D7E05987-E3E0-47B1-8869-A0A9F598D328}" srcOrd="0" destOrd="0" presId="urn:microsoft.com/office/officeart/2005/8/layout/cycle5"/>
    <dgm:cxn modelId="{B947E8E3-88F4-4F09-9687-87A8F4899267}" type="presParOf" srcId="{5BB93821-712A-4FBB-B5D3-890729724111}" destId="{1EC9D75E-C890-42F5-8262-37F369075CD8}" srcOrd="1" destOrd="0" presId="urn:microsoft.com/office/officeart/2005/8/layout/cycle5"/>
    <dgm:cxn modelId="{93519467-5EDD-40A8-A958-2C351D9BB3F5}" type="presParOf" srcId="{5BB93821-712A-4FBB-B5D3-890729724111}" destId="{E480605A-C792-4433-95C3-556CE145AC82}" srcOrd="2" destOrd="0" presId="urn:microsoft.com/office/officeart/2005/8/layout/cycle5"/>
    <dgm:cxn modelId="{0D5514E7-F48C-42F7-A7CD-4577BB1A3B85}" type="presParOf" srcId="{5BB93821-712A-4FBB-B5D3-890729724111}" destId="{384C904D-A88A-414A-A98A-DE2D15E3A0BF}" srcOrd="3" destOrd="0" presId="urn:microsoft.com/office/officeart/2005/8/layout/cycle5"/>
    <dgm:cxn modelId="{933D314F-8477-445E-91BA-1342C3003634}" type="presParOf" srcId="{5BB93821-712A-4FBB-B5D3-890729724111}" destId="{BA64D0EE-EC45-42EF-95F4-84DE905CEAFF}" srcOrd="4" destOrd="0" presId="urn:microsoft.com/office/officeart/2005/8/layout/cycle5"/>
    <dgm:cxn modelId="{DF332761-29EB-4F51-A024-BA26C6C32CB4}" type="presParOf" srcId="{5BB93821-712A-4FBB-B5D3-890729724111}" destId="{B96D842C-59E0-4FA6-924F-26B2B6110D0A}" srcOrd="5" destOrd="0" presId="urn:microsoft.com/office/officeart/2005/8/layout/cycle5"/>
    <dgm:cxn modelId="{7F3F6365-9EE5-4220-89B0-AE156E4D2A2A}" type="presParOf" srcId="{5BB93821-712A-4FBB-B5D3-890729724111}" destId="{EC8C5906-5FFA-49AB-B904-035653BA2654}" srcOrd="6" destOrd="0" presId="urn:microsoft.com/office/officeart/2005/8/layout/cycle5"/>
    <dgm:cxn modelId="{0AAD1E11-0AC3-43F0-8C81-0965A005B0ED}" type="presParOf" srcId="{5BB93821-712A-4FBB-B5D3-890729724111}" destId="{2E9539DA-DB1E-41B0-A6E5-57857174CC93}" srcOrd="7" destOrd="0" presId="urn:microsoft.com/office/officeart/2005/8/layout/cycle5"/>
    <dgm:cxn modelId="{7DA7EDBF-E46F-4445-A9F3-3B1F59A30027}" type="presParOf" srcId="{5BB93821-712A-4FBB-B5D3-890729724111}" destId="{F169AF29-30EF-47F4-A11E-5D98EFF10B0A}" srcOrd="8" destOrd="0" presId="urn:microsoft.com/office/officeart/2005/8/layout/cycle5"/>
    <dgm:cxn modelId="{163B3587-D5B7-4D4F-9A14-5888390D0225}" type="presParOf" srcId="{5BB93821-712A-4FBB-B5D3-890729724111}" destId="{D586AFDB-8A3C-4A42-9207-A63A756D3C82}" srcOrd="9" destOrd="0" presId="urn:microsoft.com/office/officeart/2005/8/layout/cycle5"/>
    <dgm:cxn modelId="{15D0C814-E478-4E7B-98FF-E48E8F932FE7}" type="presParOf" srcId="{5BB93821-712A-4FBB-B5D3-890729724111}" destId="{F2245E09-0E83-4726-B3B8-1B4439278841}" srcOrd="10" destOrd="0" presId="urn:microsoft.com/office/officeart/2005/8/layout/cycle5"/>
    <dgm:cxn modelId="{ED61D134-E99A-49A5-97F7-812985429AAC}" type="presParOf" srcId="{5BB93821-712A-4FBB-B5D3-890729724111}" destId="{B4D11F02-6C2F-48BF-B91E-78F5F87195FC}" srcOrd="11" destOrd="0" presId="urn:microsoft.com/office/officeart/2005/8/layout/cycle5"/>
    <dgm:cxn modelId="{499CC1F6-E029-4ACB-B397-51D40B2158F3}" type="presParOf" srcId="{5BB93821-712A-4FBB-B5D3-890729724111}" destId="{413D8E8D-A208-486F-9315-CE4619414E69}" srcOrd="12" destOrd="0" presId="urn:microsoft.com/office/officeart/2005/8/layout/cycle5"/>
    <dgm:cxn modelId="{7480020D-F2B4-4598-847B-2FAF5D7ED689}" type="presParOf" srcId="{5BB93821-712A-4FBB-B5D3-890729724111}" destId="{5CC71064-CB7C-4631-BAEE-825AD3529A40}" srcOrd="13" destOrd="0" presId="urn:microsoft.com/office/officeart/2005/8/layout/cycle5"/>
    <dgm:cxn modelId="{9E7EBFA5-7BAD-4241-BB9B-67B74C593B6E}" type="presParOf" srcId="{5BB93821-712A-4FBB-B5D3-890729724111}" destId="{ED0E67DF-F1F0-4F83-8633-1EB9BC8C6DB7}" srcOrd="14" destOrd="0" presId="urn:microsoft.com/office/officeart/2005/8/layout/cycle5"/>
    <dgm:cxn modelId="{A8A9D9BA-EC04-49A3-A74B-2B97B1E5BD42}" type="presParOf" srcId="{5BB93821-712A-4FBB-B5D3-890729724111}" destId="{259767E9-C1C5-4852-BA8D-6F57719E510E}" srcOrd="15" destOrd="0" presId="urn:microsoft.com/office/officeart/2005/8/layout/cycle5"/>
    <dgm:cxn modelId="{537A7BE6-B77B-4D02-BA24-9A99E92BF70C}" type="presParOf" srcId="{5BB93821-712A-4FBB-B5D3-890729724111}" destId="{9F2C22DF-842E-4811-AAEF-AEB216846DBD}" srcOrd="16" destOrd="0" presId="urn:microsoft.com/office/officeart/2005/8/layout/cycle5"/>
    <dgm:cxn modelId="{2B6E2965-DD4F-40F8-9389-0CE9182E3483}" type="presParOf" srcId="{5BB93821-712A-4FBB-B5D3-890729724111}" destId="{D97AC2AD-0DD5-40E7-B403-D6472443A350}" srcOrd="17" destOrd="0" presId="urn:microsoft.com/office/officeart/2005/8/layout/cycle5"/>
  </dgm:cxnLst>
  <dgm:bg>
    <a:noFill/>
  </dgm:bg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7E05987-E3E0-47B1-8869-A0A9F598D328}">
      <dsp:nvSpPr>
        <dsp:cNvPr id="0" name=""/>
        <dsp:cNvSpPr/>
      </dsp:nvSpPr>
      <dsp:spPr>
        <a:xfrm>
          <a:off x="2131545" y="2334"/>
          <a:ext cx="1122973" cy="729932"/>
        </a:xfrm>
        <a:prstGeom prst="roundRect">
          <a:avLst/>
        </a:prstGeom>
        <a:solidFill>
          <a:srgbClr val="C00000"/>
        </a:solid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extrusionH="152250" prstMaterial="flat">
          <a:bevelT w="12700" h="25400" prst="coolSlant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Black" pitchFamily="34" charset="0"/>
            </a:rPr>
            <a:t>ПЛАВИЛЬЩИК</a:t>
          </a:r>
          <a:endParaRPr lang="ru-RU" sz="1400" kern="1200" dirty="0">
            <a:solidFill>
              <a:schemeClr val="bg1"/>
            </a:solidFill>
            <a:latin typeface="Arial Black" pitchFamily="34" charset="0"/>
          </a:endParaRPr>
        </a:p>
      </dsp:txBody>
      <dsp:txXfrm>
        <a:off x="2131545" y="2334"/>
        <a:ext cx="1122973" cy="729932"/>
      </dsp:txXfrm>
    </dsp:sp>
    <dsp:sp modelId="{E480605A-C792-4433-95C3-556CE145AC82}">
      <dsp:nvSpPr>
        <dsp:cNvPr id="0" name=""/>
        <dsp:cNvSpPr/>
      </dsp:nvSpPr>
      <dsp:spPr>
        <a:xfrm>
          <a:off x="972100" y="367300"/>
          <a:ext cx="3441862" cy="3441862"/>
        </a:xfrm>
        <a:custGeom>
          <a:avLst/>
          <a:gdLst/>
          <a:ahLst/>
          <a:cxnLst/>
          <a:rect l="0" t="0" r="0" b="0"/>
          <a:pathLst>
            <a:path>
              <a:moveTo>
                <a:pt x="2423939" y="150140"/>
              </a:moveTo>
              <a:arcTo wR="1720931" hR="1720931" stAng="17646656" swAng="924997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2735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4C904D-A88A-414A-A98A-DE2D15E3A0BF}">
      <dsp:nvSpPr>
        <dsp:cNvPr id="0" name=""/>
        <dsp:cNvSpPr/>
      </dsp:nvSpPr>
      <dsp:spPr>
        <a:xfrm>
          <a:off x="3621915" y="862800"/>
          <a:ext cx="1122973" cy="729932"/>
        </a:xfrm>
        <a:prstGeom prst="roundRect">
          <a:avLst/>
        </a:prstGeom>
        <a:solidFill>
          <a:srgbClr val="002060"/>
        </a:solid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extrusionH="152250" prstMaterial="flat">
          <a:bevelT w="12700" h="25400" prst="coolSlant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Black" pitchFamily="34" charset="0"/>
            </a:rPr>
            <a:t>СТАНОЧНИК</a:t>
          </a:r>
          <a:endParaRPr lang="ru-RU" sz="1400" kern="1200" dirty="0">
            <a:solidFill>
              <a:schemeClr val="bg1"/>
            </a:solidFill>
            <a:latin typeface="Arial Black" pitchFamily="34" charset="0"/>
          </a:endParaRPr>
        </a:p>
      </dsp:txBody>
      <dsp:txXfrm>
        <a:off x="3621915" y="862800"/>
        <a:ext cx="1122973" cy="729932"/>
      </dsp:txXfrm>
    </dsp:sp>
    <dsp:sp modelId="{B96D842C-59E0-4FA6-924F-26B2B6110D0A}">
      <dsp:nvSpPr>
        <dsp:cNvPr id="0" name=""/>
        <dsp:cNvSpPr/>
      </dsp:nvSpPr>
      <dsp:spPr>
        <a:xfrm>
          <a:off x="972100" y="367300"/>
          <a:ext cx="3441862" cy="3441862"/>
        </a:xfrm>
        <a:custGeom>
          <a:avLst/>
          <a:gdLst/>
          <a:ahLst/>
          <a:cxnLst/>
          <a:rect l="0" t="0" r="0" b="0"/>
          <a:pathLst>
            <a:path>
              <a:moveTo>
                <a:pt x="3415008" y="1418101"/>
              </a:moveTo>
              <a:arcTo wR="1720931" hR="1720931" stAng="20991899" swAng="1216202"/>
            </a:path>
          </a:pathLst>
        </a:custGeom>
        <a:noFill/>
        <a:ln w="9525" cap="flat" cmpd="sng" algn="ctr">
          <a:solidFill>
            <a:schemeClr val="accent5">
              <a:hueOff val="229340"/>
              <a:satOff val="6967"/>
              <a:lumOff val="4549"/>
              <a:alphaOff val="0"/>
            </a:schemeClr>
          </a:solidFill>
          <a:prstDash val="solid"/>
          <a:tailEnd type="arrow"/>
        </a:ln>
        <a:effectLst/>
        <a:sp3d z="-22735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8C5906-5FFA-49AB-B904-035653BA2654}">
      <dsp:nvSpPr>
        <dsp:cNvPr id="0" name=""/>
        <dsp:cNvSpPr/>
      </dsp:nvSpPr>
      <dsp:spPr>
        <a:xfrm>
          <a:off x="3621915" y="2583731"/>
          <a:ext cx="1122973" cy="729932"/>
        </a:xfrm>
        <a:prstGeom prst="roundRect">
          <a:avLst/>
        </a:prstGeom>
        <a:solidFill>
          <a:srgbClr val="FF6600"/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Black" pitchFamily="34" charset="0"/>
            </a:rPr>
            <a:t>КОНТРОЛЕР</a:t>
          </a:r>
          <a:endParaRPr lang="ru-RU" sz="1400" kern="1200" dirty="0">
            <a:solidFill>
              <a:schemeClr val="bg1"/>
            </a:solidFill>
            <a:latin typeface="Arial Black" pitchFamily="34" charset="0"/>
          </a:endParaRPr>
        </a:p>
      </dsp:txBody>
      <dsp:txXfrm>
        <a:off x="3621915" y="2583731"/>
        <a:ext cx="1122973" cy="729932"/>
      </dsp:txXfrm>
    </dsp:sp>
    <dsp:sp modelId="{F169AF29-30EF-47F4-A11E-5D98EFF10B0A}">
      <dsp:nvSpPr>
        <dsp:cNvPr id="0" name=""/>
        <dsp:cNvSpPr/>
      </dsp:nvSpPr>
      <dsp:spPr>
        <a:xfrm>
          <a:off x="972100" y="367300"/>
          <a:ext cx="3441862" cy="3441862"/>
        </a:xfrm>
        <a:custGeom>
          <a:avLst/>
          <a:gdLst/>
          <a:ahLst/>
          <a:cxnLst/>
          <a:rect l="0" t="0" r="0" b="0"/>
          <a:pathLst>
            <a:path>
              <a:moveTo>
                <a:pt x="2816216" y="3048317"/>
              </a:moveTo>
              <a:arcTo wR="1720931" hR="1720931" stAng="3028347" swAng="924997"/>
            </a:path>
          </a:pathLst>
        </a:custGeom>
        <a:noFill/>
        <a:ln w="9525" cap="flat" cmpd="sng" algn="ctr">
          <a:solidFill>
            <a:schemeClr val="accent5">
              <a:hueOff val="458680"/>
              <a:satOff val="13934"/>
              <a:lumOff val="9098"/>
              <a:alphaOff val="0"/>
            </a:schemeClr>
          </a:solidFill>
          <a:prstDash val="solid"/>
          <a:tailEnd type="arrow"/>
        </a:ln>
        <a:effectLst/>
        <a:sp3d z="-22735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86AFDB-8A3C-4A42-9207-A63A756D3C82}">
      <dsp:nvSpPr>
        <dsp:cNvPr id="0" name=""/>
        <dsp:cNvSpPr/>
      </dsp:nvSpPr>
      <dsp:spPr>
        <a:xfrm>
          <a:off x="2131545" y="3444196"/>
          <a:ext cx="1122973" cy="729932"/>
        </a:xfrm>
        <a:prstGeom prst="roundRect">
          <a:avLst/>
        </a:prstGeom>
        <a:blipFill rotWithShape="0">
          <a:blip xmlns:r="http://schemas.openxmlformats.org/officeDocument/2006/relationships" r:embed="rId1"/>
          <a:tile tx="0" ty="0" sx="100000" sy="100000" flip="none" algn="tl"/>
        </a:blip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  <a:sp3d extrusionH="28000" prstMaterial="matte"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rgbClr val="002060"/>
              </a:solidFill>
              <a:latin typeface="Arial Black" pitchFamily="34" charset="0"/>
            </a:rPr>
            <a:t>ЭЛЕКТРОМОНТЕР</a:t>
          </a:r>
          <a:endParaRPr lang="ru-RU" sz="1200" kern="1200" dirty="0">
            <a:solidFill>
              <a:srgbClr val="002060"/>
            </a:solidFill>
            <a:latin typeface="Arial Black" pitchFamily="34" charset="0"/>
          </a:endParaRPr>
        </a:p>
      </dsp:txBody>
      <dsp:txXfrm>
        <a:off x="2131545" y="3444196"/>
        <a:ext cx="1122973" cy="729932"/>
      </dsp:txXfrm>
    </dsp:sp>
    <dsp:sp modelId="{B4D11F02-6C2F-48BF-B91E-78F5F87195FC}">
      <dsp:nvSpPr>
        <dsp:cNvPr id="0" name=""/>
        <dsp:cNvSpPr/>
      </dsp:nvSpPr>
      <dsp:spPr>
        <a:xfrm>
          <a:off x="972100" y="367300"/>
          <a:ext cx="3441862" cy="3441862"/>
        </a:xfrm>
        <a:custGeom>
          <a:avLst/>
          <a:gdLst/>
          <a:ahLst/>
          <a:cxnLst/>
          <a:rect l="0" t="0" r="0" b="0"/>
          <a:pathLst>
            <a:path>
              <a:moveTo>
                <a:pt x="1017922" y="3291721"/>
              </a:moveTo>
              <a:arcTo wR="1720931" hR="1720931" stAng="6846656" swAng="924997"/>
            </a:path>
          </a:pathLst>
        </a:custGeom>
        <a:noFill/>
        <a:ln w="9525" cap="flat" cmpd="sng" algn="ctr">
          <a:solidFill>
            <a:schemeClr val="accent5">
              <a:hueOff val="688019"/>
              <a:satOff val="20900"/>
              <a:lumOff val="13648"/>
              <a:alphaOff val="0"/>
            </a:schemeClr>
          </a:solidFill>
          <a:prstDash val="solid"/>
          <a:tailEnd type="arrow"/>
        </a:ln>
        <a:effectLst/>
        <a:sp3d z="-22735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3D8E8D-A208-486F-9315-CE4619414E69}">
      <dsp:nvSpPr>
        <dsp:cNvPr id="0" name=""/>
        <dsp:cNvSpPr/>
      </dsp:nvSpPr>
      <dsp:spPr>
        <a:xfrm>
          <a:off x="641175" y="2583731"/>
          <a:ext cx="1122973" cy="729932"/>
        </a:xfrm>
        <a:prstGeom prst="roundRect">
          <a:avLst/>
        </a:prstGeom>
        <a:solidFill>
          <a:srgbClr val="00FF00"/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  <a:sp3d extrusionH="28000" prstMaterial="matte"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rgbClr val="002060"/>
              </a:solidFill>
              <a:latin typeface="Arial Black" pitchFamily="34" charset="0"/>
            </a:rPr>
            <a:t>МАШИНИСТ 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rgbClr val="002060"/>
              </a:solidFill>
              <a:latin typeface="Arial Black" pitchFamily="34" charset="0"/>
            </a:rPr>
            <a:t>КРАНА</a:t>
          </a:r>
          <a:endParaRPr lang="ru-RU" sz="1100" kern="1200" dirty="0">
            <a:solidFill>
              <a:srgbClr val="002060"/>
            </a:solidFill>
            <a:latin typeface="Arial Black" pitchFamily="34" charset="0"/>
          </a:endParaRPr>
        </a:p>
      </dsp:txBody>
      <dsp:txXfrm>
        <a:off x="641175" y="2583731"/>
        <a:ext cx="1122973" cy="729932"/>
      </dsp:txXfrm>
    </dsp:sp>
    <dsp:sp modelId="{ED0E67DF-F1F0-4F83-8633-1EB9BC8C6DB7}">
      <dsp:nvSpPr>
        <dsp:cNvPr id="0" name=""/>
        <dsp:cNvSpPr/>
      </dsp:nvSpPr>
      <dsp:spPr>
        <a:xfrm>
          <a:off x="972100" y="367300"/>
          <a:ext cx="3441862" cy="3441862"/>
        </a:xfrm>
        <a:custGeom>
          <a:avLst/>
          <a:gdLst/>
          <a:ahLst/>
          <a:cxnLst/>
          <a:rect l="0" t="0" r="0" b="0"/>
          <a:pathLst>
            <a:path>
              <a:moveTo>
                <a:pt x="26853" y="2023760"/>
              </a:moveTo>
              <a:arcTo wR="1720931" hR="1720931" stAng="10191899" swAng="1216202"/>
            </a:path>
          </a:pathLst>
        </a:custGeom>
        <a:noFill/>
        <a:ln w="9525" cap="flat" cmpd="sng" algn="ctr">
          <a:solidFill>
            <a:schemeClr val="accent5">
              <a:hueOff val="917359"/>
              <a:satOff val="27867"/>
              <a:lumOff val="18197"/>
              <a:alphaOff val="0"/>
            </a:schemeClr>
          </a:solidFill>
          <a:prstDash val="solid"/>
          <a:tailEnd type="arrow"/>
        </a:ln>
        <a:effectLst/>
        <a:sp3d z="-22735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9767E9-C1C5-4852-BA8D-6F57719E510E}">
      <dsp:nvSpPr>
        <dsp:cNvPr id="0" name=""/>
        <dsp:cNvSpPr/>
      </dsp:nvSpPr>
      <dsp:spPr>
        <a:xfrm>
          <a:off x="641175" y="862800"/>
          <a:ext cx="1122973" cy="729932"/>
        </a:xfrm>
        <a:prstGeom prst="roundRect">
          <a:avLst/>
        </a:prstGeom>
        <a:solidFill>
          <a:srgbClr val="FFFF00"/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  <a:sp3d extrusionH="28000" prstMaterial="matte"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rgbClr val="002060"/>
              </a:solidFill>
              <a:latin typeface="Arial Black" pitchFamily="34" charset="0"/>
            </a:rPr>
            <a:t>СВАРЩИК</a:t>
          </a:r>
          <a:endParaRPr lang="ru-RU" sz="1600" kern="1200" dirty="0">
            <a:solidFill>
              <a:srgbClr val="002060"/>
            </a:solidFill>
            <a:latin typeface="Arial Black" pitchFamily="34" charset="0"/>
          </a:endParaRPr>
        </a:p>
      </dsp:txBody>
      <dsp:txXfrm>
        <a:off x="641175" y="862800"/>
        <a:ext cx="1122973" cy="729932"/>
      </dsp:txXfrm>
    </dsp:sp>
    <dsp:sp modelId="{D97AC2AD-0DD5-40E7-B403-D6472443A350}">
      <dsp:nvSpPr>
        <dsp:cNvPr id="0" name=""/>
        <dsp:cNvSpPr/>
      </dsp:nvSpPr>
      <dsp:spPr>
        <a:xfrm>
          <a:off x="972100" y="367300"/>
          <a:ext cx="3441862" cy="3441862"/>
        </a:xfrm>
        <a:custGeom>
          <a:avLst/>
          <a:gdLst/>
          <a:ahLst/>
          <a:cxnLst/>
          <a:rect l="0" t="0" r="0" b="0"/>
          <a:pathLst>
            <a:path>
              <a:moveTo>
                <a:pt x="625645" y="393545"/>
              </a:moveTo>
              <a:arcTo wR="1720931" hR="1720931" stAng="13828347" swAng="924997"/>
            </a:path>
          </a:pathLst>
        </a:custGeom>
        <a:noFill/>
        <a:ln w="9525" cap="flat" cmpd="sng" algn="ctr">
          <a:solidFill>
            <a:schemeClr val="accent5">
              <a:hueOff val="1146699"/>
              <a:satOff val="34834"/>
              <a:lumOff val="22746"/>
              <a:alphaOff val="0"/>
            </a:schemeClr>
          </a:solidFill>
          <a:prstDash val="solid"/>
          <a:tailEnd type="arrow"/>
        </a:ln>
        <a:effectLst/>
        <a:sp3d z="-22735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FFD543-F4B1-4BC0-8CC5-901D01380F94}" type="datetimeFigureOut">
              <a:rPr lang="ru-RU" smtClean="0"/>
              <a:pPr/>
              <a:t>09.09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1444CB-0983-4E09-954A-064B0FEF3413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8E4C03-932C-4E9B-8582-9B3001D3DC16}" type="datetimeFigureOut">
              <a:rPr lang="ru-RU" smtClean="0"/>
              <a:pPr/>
              <a:t>09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17DA7B-46BA-48AC-B7EE-E6FB6B4EC8A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17DA7B-46BA-48AC-B7EE-E6FB6B4EC8A0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C56838-53E9-48C5-B1ED-675AB4C35507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173424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C56838-53E9-48C5-B1ED-675AB4C35507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993053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C56838-53E9-48C5-B1ED-675AB4C35507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336491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6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oleObject" Target="../embeddings/oleObject3.bin"/><Relationship Id="rId4" Type="http://schemas.openxmlformats.org/officeDocument/2006/relationships/image" Target="../media/image8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9.png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0.png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1.png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2.png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9.png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3.pn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2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9.png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png"/><Relationship Id="rId4" Type="http://schemas.openxmlformats.org/officeDocument/2006/relationships/oleObject" Target="../embeddings/oleObject5.bin"/></Relationships>
</file>

<file path=ppt/slideLayouts/_rels/slideLayout3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3.png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2.vml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3.vml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4.vml"/><Relationship Id="rId4" Type="http://schemas.openxmlformats.org/officeDocument/2006/relationships/image" Target="../media/image1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5.vml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36.vml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37.vml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8.vml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39.vml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40.vml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6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41.vml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2.v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9.png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20.png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21.png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22.png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9.png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23.png"/><Relationship Id="rId4" Type="http://schemas.openxmlformats.org/officeDocument/2006/relationships/oleObject" Target="../embeddings/oleObject5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9.png"/><Relationship Id="rId4" Type="http://schemas.openxmlformats.org/officeDocument/2006/relationships/oleObject" Target="../embeddings/oleObject57.bin"/></Relationships>
</file>

<file path=ppt/slideLayouts/_rels/slideLayout5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23.png"/><Relationship Id="rId4" Type="http://schemas.openxmlformats.org/officeDocument/2006/relationships/oleObject" Target="../embeddings/oleObject58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58.vml"/><Relationship Id="rId4" Type="http://schemas.openxmlformats.org/officeDocument/2006/relationships/oleObject" Target="../embeddings/oleObject5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59.vml"/><Relationship Id="rId4" Type="http://schemas.openxmlformats.org/officeDocument/2006/relationships/oleObject" Target="../embeddings/oleObject60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0.vml"/><Relationship Id="rId4" Type="http://schemas.openxmlformats.org/officeDocument/2006/relationships/oleObject" Target="../embeddings/oleObject6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61.vml"/><Relationship Id="rId4" Type="http://schemas.openxmlformats.org/officeDocument/2006/relationships/oleObject" Target="../embeddings/oleObject62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9.png"/><Relationship Id="rId4" Type="http://schemas.openxmlformats.org/officeDocument/2006/relationships/oleObject" Target="../embeddings/oleObject63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63.vml"/><Relationship Id="rId4" Type="http://schemas.openxmlformats.org/officeDocument/2006/relationships/oleObject" Target="../embeddings/oleObject64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361361800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5122" name="Слайд think-cell" r:id="rId3" imgW="360" imgH="360" progId="">
              <p:embed/>
            </p:oleObj>
          </a:graphicData>
        </a:graphic>
      </p:graphicFrame>
      <p:sp>
        <p:nvSpPr>
          <p:cNvPr id="7" name="PanelGreen">
            <a:extLst>
              <a:ext uri="{FF2B5EF4-FFF2-40B4-BE49-F238E27FC236}">
                <a16:creationId xmlns:a16="http://schemas.microsoft.com/office/drawing/2014/main" xmlns="" id="{A9DE2E54-FEDC-4E46-9F74-1E346B59A75C}"/>
              </a:ext>
            </a:extLst>
          </p:cNvPr>
          <p:cNvSpPr>
            <a:spLocks noChangeAspect="1"/>
          </p:cNvSpPr>
          <p:nvPr/>
        </p:nvSpPr>
        <p:spPr bwMode="black">
          <a:xfrm>
            <a:off x="2127081" y="0"/>
            <a:ext cx="7016919" cy="6858000"/>
          </a:xfrm>
          <a:prstGeom prst="rect">
            <a:avLst/>
          </a:prstGeom>
          <a:gradFill flip="none" rotWithShape="1">
            <a:gsLst>
              <a:gs pos="0">
                <a:srgbClr val="273873">
                  <a:alpha val="89804"/>
                </a:srgb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BD0A1494-97A9-4451-ACE3-85D52DA0AD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770346" y="4109253"/>
            <a:ext cx="440319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4E50EE49-2E12-4B9C-869A-AB7BC9402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3770346" y="2986536"/>
            <a:ext cx="4403197" cy="88492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AA612F92-CC43-4D6B-8D8E-617DEE5AD75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7341" y="402289"/>
            <a:ext cx="1809617" cy="705751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F4029F38-980F-49DC-9A90-792336EA02F3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3484887" cy="685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56687637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7B93D482-59B9-4636-B73B-3F6DE4EE9AE3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1" name="PanelGreen">
            <a:extLst>
              <a:ext uri="{FF2B5EF4-FFF2-40B4-BE49-F238E27FC236}">
                <a16:creationId xmlns:a16="http://schemas.microsoft.com/office/drawing/2014/main" xmlns="" id="{2B2B4261-3040-4CD6-B0EA-891FD9843606}"/>
              </a:ext>
            </a:extLst>
          </p:cNvPr>
          <p:cNvSpPr>
            <a:spLocks noChangeAspect="1"/>
          </p:cNvSpPr>
          <p:nvPr/>
        </p:nvSpPr>
        <p:spPr bwMode="black">
          <a:xfrm>
            <a:off x="581539" y="2202873"/>
            <a:ext cx="4986655" cy="3953127"/>
          </a:xfrm>
          <a:prstGeom prst="rect">
            <a:avLst/>
          </a:prstGeom>
          <a:gradFill flip="none" rotWithShape="1">
            <a:gsLst>
              <a:gs pos="0">
                <a:srgbClr val="273873">
                  <a:alpha val="89804"/>
                </a:srgb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553356738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14338" name="Слайд think-cell" r:id="rId4" imgW="360" imgH="360" progId="">
              <p:embed/>
            </p:oleObj>
          </a:graphicData>
        </a:graphic>
      </p:graphicFrame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BD0A1494-97A9-4451-ACE3-85D52DA0AD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945084" y="5091396"/>
            <a:ext cx="440319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4E50EE49-2E12-4B9C-869A-AB7BC9402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945084" y="3968679"/>
            <a:ext cx="4403197" cy="88492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AA612F92-CC43-4D6B-8D8E-617DEE5AD75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797" y="2723250"/>
            <a:ext cx="1809617" cy="70575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33846777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55963497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15362" name="Слайд think-cell" r:id="rId3" imgW="360" imgH="360" progId="">
              <p:embed/>
            </p:oleObj>
          </a:graphicData>
        </a:graphic>
      </p:graphicFrame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17477" y="6207842"/>
            <a:ext cx="5014337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817477" y="5495708"/>
            <a:ext cx="501433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817477" y="1886244"/>
            <a:ext cx="5014337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400">
                <a:solidFill>
                  <a:schemeClr val="bg1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</p:spTree>
    <p:extLst>
      <p:ext uri="{BB962C8B-B14F-4D97-AF65-F5344CB8AC3E}">
        <p14:creationId xmlns="" xmlns:p14="http://schemas.microsoft.com/office/powerpoint/2010/main" val="134049786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925999036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16386" name="Слайд think-cell" r:id="rId4" imgW="360" imgH="360" progId="">
              <p:embed/>
            </p:oleObj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644808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0985" y="254501"/>
            <a:ext cx="7982031" cy="398571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71769845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p:oleObj spid="_x0000_s17410" name="Слайд think-cell" r:id="rId4" imgW="360" imgH="360" progId="">
              <p:embed/>
            </p:oleObj>
          </a:graphicData>
        </a:graphic>
      </p:graphicFrame>
      <p:sp>
        <p:nvSpPr>
          <p:cNvPr id="8" name="PanelGray"/>
          <p:cNvSpPr/>
          <p:nvPr/>
        </p:nvSpPr>
        <p:spPr bwMode="ltGray">
          <a:xfrm>
            <a:off x="1" y="1"/>
            <a:ext cx="355262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1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81538" y="1544274"/>
            <a:ext cx="251963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=""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81394429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18434" name="Слайд think-cell" r:id="rId4" imgW="360" imgH="360" progId="">
              <p:embed/>
            </p:oleObj>
          </a:graphicData>
        </a:graphic>
      </p:graphicFrame>
      <p:sp>
        <p:nvSpPr>
          <p:cNvPr id="4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17477" y="2668041"/>
            <a:ext cx="75096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Circe" panose="020B0502020203020203" pitchFamily="34" charset="-52"/>
                <a:ea typeface="+mn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/>
        </p:nvSpPr>
        <p:spPr bwMode="white">
          <a:xfrm>
            <a:off x="817477" y="1457803"/>
            <a:ext cx="846605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irce" panose="020B0502020203020203" pitchFamily="34" charset="-52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line">
    <p:bg bwMode="blackWhite"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82441346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19458" name="Слайд think-cell" r:id="rId3" imgW="360" imgH="360" progId="">
              <p:embed/>
            </p:oleObj>
          </a:graphicData>
        </a:graphic>
      </p:graphicFrame>
      <p:sp>
        <p:nvSpPr>
          <p:cNvPr id="5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3826800"/>
            <a:ext cx="7982031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bg1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/>
        </p:nvCxnSpPr>
        <p:spPr bwMode="white">
          <a:xfrm>
            <a:off x="581538" y="3680016"/>
            <a:ext cx="8562462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hite one third">
    <p:bg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57283677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20482" name="Слайд think-cell" r:id="rId4" imgW="360" imgH="360" progId="">
              <p:embed/>
            </p:oleObj>
          </a:graphicData>
        </a:graphic>
      </p:graphicFrame>
      <p:pic>
        <p:nvPicPr>
          <p:cNvPr id="16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088662" y="0"/>
            <a:ext cx="385477" cy="6858000"/>
          </a:xfrm>
          <a:prstGeom prst="rect">
            <a:avLst/>
          </a:prstGeom>
        </p:spPr>
      </p:pic>
      <p:sp>
        <p:nvSpPr>
          <p:cNvPr id="26" name="PanelGray"/>
          <p:cNvSpPr/>
          <p:nvPr/>
        </p:nvSpPr>
        <p:spPr bwMode="white">
          <a:xfrm>
            <a:off x="1" y="0"/>
            <a:ext cx="309954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5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81539" y="2681103"/>
            <a:ext cx="228380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highlight">
    <p:bg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52385991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21506" name="Слайд think-cell" r:id="rId4" imgW="360" imgH="360" progId="">
              <p:embed/>
            </p:oleObj>
          </a:graphicData>
        </a:graphic>
      </p:graphicFrame>
      <p:pic>
        <p:nvPicPr>
          <p:cNvPr id="10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358992" y="0"/>
            <a:ext cx="385477" cy="6858000"/>
          </a:xfrm>
          <a:prstGeom prst="rect">
            <a:avLst/>
          </a:prstGeom>
        </p:spPr>
      </p:pic>
      <p:sp>
        <p:nvSpPr>
          <p:cNvPr id="13" name="PanelGray"/>
          <p:cNvSpPr/>
          <p:nvPr/>
        </p:nvSpPr>
        <p:spPr bwMode="white">
          <a:xfrm>
            <a:off x="1" y="0"/>
            <a:ext cx="536467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4567614" cy="398571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336315826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one third">
    <p:bg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88364413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22530" name="Слайд think-cell" r:id="rId4" imgW="360" imgH="360" progId="">
              <p:embed/>
            </p:oleObj>
          </a:graphicData>
        </a:graphic>
      </p:graphicFrame>
      <p:pic>
        <p:nvPicPr>
          <p:cNvPr id="62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/>
        </p:nvSpPr>
        <p:spPr bwMode="white">
          <a:xfrm>
            <a:off x="3102278" y="-1309"/>
            <a:ext cx="6041722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half">
    <p:bg bwMode="grayWhite"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049223582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23554" name="Слайд think-cell" r:id="rId4" imgW="360" imgH="360" progId="">
              <p:embed/>
            </p:oleObj>
          </a:graphicData>
        </a:graphic>
      </p:graphicFrame>
      <p:pic>
        <p:nvPicPr>
          <p:cNvPr id="11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194424" y="0"/>
            <a:ext cx="385477" cy="6858000"/>
          </a:xfrm>
          <a:prstGeom prst="rect">
            <a:avLst/>
          </a:prstGeom>
        </p:spPr>
      </p:pic>
      <p:sp>
        <p:nvSpPr>
          <p:cNvPr id="12" name="PanelGray"/>
          <p:cNvSpPr/>
          <p:nvPr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6" y="0"/>
            <a:ext cx="4572554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8" y="1785600"/>
            <a:ext cx="3202293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4" cstate="screen">
            <a:lum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1466" y="1588"/>
          <a:ext cx="1466" cy="1588"/>
        </p:xfrm>
        <a:graphic>
          <a:graphicData uri="http://schemas.openxmlformats.org/presentationml/2006/ole">
            <p:oleObj spid="_x0000_s6146" name="Слайд think-cell" r:id="rId5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342772765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p:oleObj spid="_x0000_s6147" name="think-cell Slide" r:id="rId6" imgW="360" imgH="360" progId="">
              <p:embed/>
            </p:oleObj>
          </a:graphicData>
        </a:graphic>
      </p:graphicFrame>
      <p:sp>
        <p:nvSpPr>
          <p:cNvPr id="21" name="PanelGreen"/>
          <p:cNvSpPr>
            <a:spLocks noChangeAspect="1"/>
          </p:cNvSpPr>
          <p:nvPr/>
        </p:nvSpPr>
        <p:spPr bwMode="black">
          <a:xfrm>
            <a:off x="581539" y="2202873"/>
            <a:ext cx="4986655" cy="3953127"/>
          </a:xfrm>
          <a:prstGeom prst="rect">
            <a:avLst/>
          </a:prstGeom>
          <a:gradFill flip="none" rotWithShape="1">
            <a:gsLst>
              <a:gs pos="0">
                <a:srgbClr val="273873">
                  <a:alpha val="89804"/>
                </a:srgb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45084" y="6207842"/>
            <a:ext cx="5014337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45084" y="5091396"/>
            <a:ext cx="440319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45084" y="3968679"/>
            <a:ext cx="4403197" cy="88492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070109E-1870-4526-91CE-BB9F6C53E55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797" y="2723250"/>
            <a:ext cx="1809617" cy="70575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20784771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two third">
    <p:bg bwMode="grayWhite"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7721673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24578" name="Слайд think-cell" r:id="rId4" imgW="360" imgH="360" progId="">
              <p:embed/>
            </p:oleObj>
          </a:graphicData>
        </a:graphic>
      </p:graphicFrame>
      <p:pic>
        <p:nvPicPr>
          <p:cNvPr id="64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452714" y="0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/>
        </p:nvSpPr>
        <p:spPr bwMode="gray">
          <a:xfrm>
            <a:off x="5830892" y="0"/>
            <a:ext cx="3313108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6448083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1785600"/>
            <a:ext cx="456739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ue two third">
    <p:bg bwMode="grayWhite"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412502285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25602" name="Слайд think-cell" r:id="rId4" imgW="360" imgH="360" progId="">
              <p:embed/>
            </p:oleObj>
          </a:graphicData>
        </a:graphic>
      </p:graphicFrame>
      <p:pic>
        <p:nvPicPr>
          <p:cNvPr id="64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452714" y="0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/>
        </p:nvSpPr>
        <p:spPr bwMode="gray">
          <a:xfrm>
            <a:off x="5830892" y="0"/>
            <a:ext cx="3313108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6448083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1785600"/>
            <a:ext cx="456739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25383608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White one third reversed">
    <p:bg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080430802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26626" name="Слайд think-cell" r:id="rId4" imgW="360" imgH="360" progId="">
              <p:embed/>
            </p:oleObj>
          </a:graphicData>
        </a:graphic>
      </p:graphicFrame>
      <p:pic>
        <p:nvPicPr>
          <p:cNvPr id="16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337345" y="0"/>
            <a:ext cx="385477" cy="6858000"/>
          </a:xfrm>
          <a:prstGeom prst="rect">
            <a:avLst/>
          </a:prstGeom>
        </p:spPr>
      </p:pic>
      <p:sp>
        <p:nvSpPr>
          <p:cNvPr id="26" name="PanelGray"/>
          <p:cNvSpPr/>
          <p:nvPr/>
        </p:nvSpPr>
        <p:spPr bwMode="white">
          <a:xfrm>
            <a:off x="1" y="0"/>
            <a:ext cx="333734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5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1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xmlns="" id="{4090A2B4-97FD-4D7B-AA32-DB358D64D29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333734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BE691655-BB15-4313-B479-5565931205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White">
          <a:xfrm>
            <a:off x="3982852" y="1785600"/>
            <a:ext cx="456739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="" xmlns:p14="http://schemas.microsoft.com/office/powerpoint/2010/main" val="4325981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arrow">
    <p:bg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2913863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27650" name="Слайд think-cell" r:id="rId4" imgW="360" imgH="360" progId="">
              <p:embed/>
            </p:oleObj>
          </a:graphicData>
        </a:graphic>
      </p:graphicFrame>
      <p:pic>
        <p:nvPicPr>
          <p:cNvPr id="107" name="Shado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ArrowPanelGray"/>
          <p:cNvSpPr/>
          <p:nvPr/>
        </p:nvSpPr>
        <p:spPr bwMode="ltGray">
          <a:xfrm>
            <a:off x="0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irce" panose="020B0502020203020203" pitchFamily="34" charset="-52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2680200"/>
            <a:ext cx="1831662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rgbClr val="273873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362719510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28674" name="Слайд think-cell" r:id="rId4" imgW="360" imgH="360" progId="">
              <p:embed/>
            </p:oleObj>
          </a:graphicData>
        </a:graphic>
      </p:graphicFrame>
      <p:sp>
        <p:nvSpPr>
          <p:cNvPr id="61" name="ArrowPanelGray"/>
          <p:cNvSpPr/>
          <p:nvPr/>
        </p:nvSpPr>
        <p:spPr bwMode="ltGray">
          <a:xfrm>
            <a:off x="0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273873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irce" panose="020B0502020203020203" pitchFamily="34" charset="-52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81539" y="2680199"/>
            <a:ext cx="1831662" cy="1497600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644808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8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 rot="120000">
            <a:off x="1301049" y="3402829"/>
            <a:ext cx="2487384" cy="346174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15500247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one third">
    <p:bg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39237688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29698" name="Слайд think-cell" r:id="rId4" imgW="360" imgH="360" progId="">
              <p:embed/>
            </p:oleObj>
          </a:graphicData>
        </a:graphic>
      </p:graphicFrame>
      <p:pic>
        <p:nvPicPr>
          <p:cNvPr id="61" name="Shado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942" y="3395663"/>
            <a:ext cx="1198685" cy="35718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Gray"/>
          <p:cNvSpPr>
            <a:spLocks noChangeArrowheads="1"/>
          </p:cNvSpPr>
          <p:nvPr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irce" panose="020B0502020203020203" pitchFamily="34" charset="-52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273873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735027695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30722" name="Слайд think-cell" r:id="rId4" imgW="360" imgH="360" progId="">
              <p:embed/>
            </p:oleObj>
          </a:graphicData>
        </a:graphic>
      </p:graphicFrame>
      <p:sp>
        <p:nvSpPr>
          <p:cNvPr id="63" name="ArrowPanelGray"/>
          <p:cNvSpPr>
            <a:spLocks noChangeArrowheads="1"/>
          </p:cNvSpPr>
          <p:nvPr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644808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7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2385805" y="3416300"/>
            <a:ext cx="2487384" cy="34417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19715370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half">
    <p:bg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158759928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31746" name="Слайд think-cell" r:id="rId4" imgW="360" imgH="360" progId="">
              <p:embed/>
            </p:oleObj>
          </a:graphicData>
        </a:graphic>
      </p:graphicFrame>
      <p:pic>
        <p:nvPicPr>
          <p:cNvPr id="62" name="Shado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0397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ArrowPanelGray"/>
          <p:cNvSpPr/>
          <p:nvPr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irce" panose="020B0502020203020203" pitchFamily="34" charset="-52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3412754" cy="39857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>
                <a:solidFill>
                  <a:srgbClr val="273873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010168665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32770" name="Слайд think-cell" r:id="rId4" imgW="360" imgH="360" progId="">
              <p:embed/>
            </p:oleObj>
          </a:graphicData>
        </a:graphic>
      </p:graphicFrame>
      <p:sp>
        <p:nvSpPr>
          <p:cNvPr id="66" name="ArrowPanelGray"/>
          <p:cNvSpPr/>
          <p:nvPr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273873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irce" panose="020B0502020203020203" pitchFamily="34" charset="-52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3412754" cy="39857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>
                <a:solidFill>
                  <a:srgbClr val="FFFFFF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Copyright" hidden="1"/>
          <p:cNvSpPr txBox="1"/>
          <p:nvPr/>
        </p:nvSpPr>
        <p:spPr>
          <a:xfrm rot="16200000">
            <a:off x="644808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5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 rot="120000">
            <a:off x="3033319" y="3407804"/>
            <a:ext cx="2487384" cy="3456551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E7552089-8456-4CA4-B996-C47FAAA20D7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1504" y="299076"/>
            <a:ext cx="1601929" cy="62589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74888364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two third">
    <p:bg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735437138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33794" name="Слайд think-cell" r:id="rId4" imgW="360" imgH="360" progId="">
              <p:embed/>
            </p:oleObj>
          </a:graphicData>
        </a:graphic>
      </p:graphicFrame>
      <p:pic>
        <p:nvPicPr>
          <p:cNvPr id="62" name="Shado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6725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Gray"/>
          <p:cNvSpPr/>
          <p:nvPr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irce" panose="020B0502020203020203" pitchFamily="34" charset="-52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4567614" cy="398571"/>
          </a:xfrm>
        </p:spPr>
        <p:txBody>
          <a:bodyPr/>
          <a:lstStyle>
            <a:lvl1pPr>
              <a:defRPr sz="2800">
                <a:solidFill>
                  <a:srgbClr val="273873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BEB0E73B-67DC-4D24-898A-75D0EB5AE2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b="-626"/>
          <a:stretch/>
        </p:blipFill>
        <p:spPr>
          <a:xfrm>
            <a:off x="0" y="0"/>
            <a:ext cx="9144000" cy="6946900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9326615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7170" name="Слайд think-cell" r:id="rId4" imgW="360" imgH="360" progId="">
              <p:embed/>
            </p:oleObj>
          </a:graphicData>
        </a:graphic>
      </p:graphicFrame>
      <p:sp>
        <p:nvSpPr>
          <p:cNvPr id="7" name="PanelGreen">
            <a:extLst>
              <a:ext uri="{FF2B5EF4-FFF2-40B4-BE49-F238E27FC236}">
                <a16:creationId xmlns:a16="http://schemas.microsoft.com/office/drawing/2014/main" xmlns="" id="{A9DE2E54-FEDC-4E46-9F74-1E346B59A75C}"/>
              </a:ext>
            </a:extLst>
          </p:cNvPr>
          <p:cNvSpPr>
            <a:spLocks noChangeAspect="1"/>
          </p:cNvSpPr>
          <p:nvPr/>
        </p:nvSpPr>
        <p:spPr bwMode="black">
          <a:xfrm>
            <a:off x="581539" y="2202873"/>
            <a:ext cx="4986655" cy="3953127"/>
          </a:xfrm>
          <a:prstGeom prst="rect">
            <a:avLst/>
          </a:prstGeom>
          <a:gradFill flip="none" rotWithShape="1">
            <a:gsLst>
              <a:gs pos="0">
                <a:srgbClr val="273873">
                  <a:alpha val="89804"/>
                </a:srgb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BD0A1494-97A9-4451-ACE3-85D52DA0AD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945084" y="5091396"/>
            <a:ext cx="440319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4E50EE49-2E12-4B9C-869A-AB7BC9402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945084" y="3968679"/>
            <a:ext cx="4403197" cy="88492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BC634856-7B93-4AFF-B209-B90B2757C7D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084" y="2594760"/>
            <a:ext cx="1809617" cy="74551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6089033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26817793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34818" name="Слайд think-cell" r:id="rId4" imgW="360" imgH="360" progId="">
              <p:embed/>
            </p:oleObj>
          </a:graphicData>
        </a:graphic>
      </p:graphicFrame>
      <p:sp>
        <p:nvSpPr>
          <p:cNvPr id="64" name="ArrowPanelGray"/>
          <p:cNvSpPr/>
          <p:nvPr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273873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irce" panose="020B0502020203020203" pitchFamily="34" charset="-52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4567614" cy="398571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644808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5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 rot="120000">
            <a:off x="4505250" y="3407804"/>
            <a:ext cx="2487384" cy="345655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05689189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blue">
    <p:bg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135420967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35842" name="Слайд think-cell" r:id="rId4" imgW="360" imgH="360" progId="">
              <p:embed/>
            </p:oleObj>
          </a:graphicData>
        </a:graphic>
      </p:graphicFrame>
      <p:sp>
        <p:nvSpPr>
          <p:cNvPr id="3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Circe" panose="020B0502020203020203" pitchFamily="34" charset="-52"/>
                <a:ea typeface="+mn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19952956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36866" name="Слайд think-cell" r:id="rId4" imgW="360" imgH="360" progId="">
              <p:embed/>
            </p:oleObj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273873"/>
                </a:solidFill>
                <a:latin typeface="Circe" panose="020B0502020203020203" pitchFamily="34" charset="-52"/>
                <a:ea typeface="+mn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/>
        </p:nvSpPr>
        <p:spPr bwMode="white">
          <a:xfrm>
            <a:off x="581539" y="625475"/>
            <a:ext cx="847123" cy="918000"/>
          </a:xfrm>
          <a:prstGeom prst="rect">
            <a:avLst/>
          </a:prstGeom>
          <a:noFill/>
          <a:ln w="9525">
            <a:solidFill>
              <a:srgbClr val="2738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irce" panose="020B0502020203020203" pitchFamily="34" charset="-52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331118094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37890" name="Слайд think-cell" r:id="rId3" imgW="360" imgH="360" progId="">
              <p:embed/>
            </p:oleObj>
          </a:graphicData>
        </a:graphic>
      </p:graphicFrame>
      <p:pic>
        <p:nvPicPr>
          <p:cNvPr id="54" name="Shadow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5157008" y="1566641"/>
            <a:ext cx="769257" cy="7204727"/>
          </a:xfrm>
          <a:prstGeom prst="rect">
            <a:avLst/>
          </a:prstGeom>
        </p:spPr>
      </p:pic>
      <p:grpSp>
        <p:nvGrpSpPr>
          <p:cNvPr id="3" name="Bubble"/>
          <p:cNvGrpSpPr/>
          <p:nvPr/>
        </p:nvGrpSpPr>
        <p:grpSpPr>
          <a:xfrm>
            <a:off x="1" y="1"/>
            <a:ext cx="9143998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rgbClr val="273873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dirty="0">
                <a:solidFill>
                  <a:schemeClr val="tx1"/>
                </a:solidFill>
                <a:latin typeface="Circe" panose="020B0502020203020203" pitchFamily="34" charset="-52"/>
                <a:cs typeface="Calibri" panose="020F050202020403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rgbClr val="273873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dirty="0">
                <a:solidFill>
                  <a:schemeClr val="tx1"/>
                </a:solidFill>
                <a:latin typeface="Circe" panose="020B0502020203020203" pitchFamily="34" charset="-52"/>
                <a:cs typeface="Calibri" panose="020F050202020403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6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pecial gray">
    <p:bg>
      <p:bgPr>
        <a:solidFill>
          <a:srgbClr val="8C8D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85359749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38914" name="Слайд think-cell" r:id="rId4" imgW="360" imgH="360" progId="">
              <p:embed/>
            </p:oleObj>
          </a:graphicData>
        </a:graphic>
      </p:graphicFrame>
      <p:sp>
        <p:nvSpPr>
          <p:cNvPr id="5" name="Page"/>
          <p:cNvSpPr txBox="1"/>
          <p:nvPr/>
        </p:nvSpPr>
        <p:spPr bwMode="white">
          <a:xfrm>
            <a:off x="8264493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7982031" cy="398571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Circe" panose="020B0502020203020203" pitchFamily="34" charset="-52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155872993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39938" name="Слайд think-cell" r:id="rId4" imgW="360" imgH="360" progId="">
              <p:embed/>
            </p:oleObj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6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blue">
    <p:bg>
      <p:bgPr>
        <a:gradFill>
          <a:gsLst>
            <a:gs pos="0">
              <a:srgbClr val="273873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65344962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40962" name="Слайд think-cell" r:id="rId4" imgW="360" imgH="360" progId="">
              <p:embed/>
            </p:oleObj>
          </a:graphicData>
        </a:graphic>
      </p:graphicFrame>
      <p:sp>
        <p:nvSpPr>
          <p:cNvPr id="7" name="Page"/>
          <p:cNvSpPr txBox="1"/>
          <p:nvPr/>
        </p:nvSpPr>
        <p:spPr bwMode="white">
          <a:xfrm>
            <a:off x="8264493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8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28045689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41986" name="Слайд think-cell" r:id="rId4" imgW="360" imgH="360" progId="">
              <p:embed/>
            </p:oleObj>
          </a:graphicData>
        </a:graphic>
      </p:graphicFrame>
      <p:sp>
        <p:nvSpPr>
          <p:cNvPr id="11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12667525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43010" name="Слайд think-cell" r:id="rId4" imgW="360" imgH="360" progId="">
              <p:embed/>
            </p:oleObj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79439" y="236434"/>
            <a:ext cx="7982031" cy="341632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22206985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015463147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44034" name="Слайд think-cell" r:id="rId4" imgW="360" imgH="360" progId="">
              <p:embed/>
            </p:oleObj>
          </a:graphicData>
        </a:graphic>
      </p:graphicFrame>
      <p:sp>
        <p:nvSpPr>
          <p:cNvPr id="7" name="PanelGray"/>
          <p:cNvSpPr/>
          <p:nvPr/>
        </p:nvSpPr>
        <p:spPr bwMode="white">
          <a:xfrm>
            <a:off x="1" y="-1309"/>
            <a:ext cx="355236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81539" y="2158989"/>
            <a:ext cx="2730092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81539" y="1227050"/>
            <a:ext cx="2730092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effectLst/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32EA41DD-5411-40EA-A4A9-DE9A7D51F02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226686969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8194" name="Слайд think-cell" r:id="rId4" imgW="360" imgH="360" progId="">
              <p:embed/>
            </p:oleObj>
          </a:graphicData>
        </a:graphic>
      </p:graphicFrame>
      <p:sp>
        <p:nvSpPr>
          <p:cNvPr id="7" name="PanelGreen">
            <a:extLst>
              <a:ext uri="{FF2B5EF4-FFF2-40B4-BE49-F238E27FC236}">
                <a16:creationId xmlns:a16="http://schemas.microsoft.com/office/drawing/2014/main" xmlns="" id="{A9DE2E54-FEDC-4E46-9F74-1E346B59A75C}"/>
              </a:ext>
            </a:extLst>
          </p:cNvPr>
          <p:cNvSpPr>
            <a:spLocks noChangeAspect="1"/>
          </p:cNvSpPr>
          <p:nvPr/>
        </p:nvSpPr>
        <p:spPr bwMode="black">
          <a:xfrm>
            <a:off x="581539" y="2202873"/>
            <a:ext cx="4986655" cy="3953127"/>
          </a:xfrm>
          <a:prstGeom prst="rect">
            <a:avLst/>
          </a:prstGeom>
          <a:gradFill flip="none" rotWithShape="1">
            <a:gsLst>
              <a:gs pos="0">
                <a:srgbClr val="273873">
                  <a:alpha val="89804"/>
                </a:srgb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BD0A1494-97A9-4451-ACE3-85D52DA0AD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945084" y="5091396"/>
            <a:ext cx="440319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4E50EE49-2E12-4B9C-869A-AB7BC9402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945084" y="3968679"/>
            <a:ext cx="4403197" cy="88492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AA612F92-CC43-4D6B-8D8E-617DEE5AD75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797" y="2723250"/>
            <a:ext cx="1809617" cy="70575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39817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799885547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45058" name="Слайд think-cell" r:id="rId4" imgW="360" imgH="360" progId="">
              <p:embed/>
            </p:oleObj>
          </a:graphicData>
        </a:graphic>
      </p:graphicFrame>
      <p:sp>
        <p:nvSpPr>
          <p:cNvPr id="12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17477" y="2668041"/>
            <a:ext cx="7510154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/>
        </p:nvSpPr>
        <p:spPr bwMode="white">
          <a:xfrm>
            <a:off x="817477" y="1457803"/>
            <a:ext cx="846209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bg bwMode="blackWhite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85782604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46082" name="Слайд think-cell" r:id="rId3" imgW="360" imgH="360" progId="">
              <p:embed/>
            </p:oleObj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3826800"/>
            <a:ext cx="7982031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/>
        </p:nvCxnSpPr>
        <p:spPr bwMode="white">
          <a:xfrm>
            <a:off x="581539" y="3682800"/>
            <a:ext cx="856356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087141150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47106" name="Слайд think-cell" r:id="rId4" imgW="360" imgH="360" progId="">
              <p:embed/>
            </p:oleObj>
          </a:graphicData>
        </a:graphic>
      </p:graphicFrame>
      <p:pic>
        <p:nvPicPr>
          <p:cNvPr id="62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088662" y="0"/>
            <a:ext cx="385477" cy="6858000"/>
          </a:xfrm>
          <a:prstGeom prst="rect">
            <a:avLst/>
          </a:prstGeom>
        </p:spPr>
      </p:pic>
      <p:sp>
        <p:nvSpPr>
          <p:cNvPr id="65" name="PanelGray"/>
          <p:cNvSpPr/>
          <p:nvPr/>
        </p:nvSpPr>
        <p:spPr bwMode="white">
          <a:xfrm>
            <a:off x="1" y="0"/>
            <a:ext cx="309954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ue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86021102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48130" name="Слайд think-cell" r:id="rId4" imgW="360" imgH="360" progId="">
              <p:embed/>
            </p:oleObj>
          </a:graphicData>
        </a:graphic>
      </p:graphicFrame>
      <p:pic>
        <p:nvPicPr>
          <p:cNvPr id="61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358992" y="0"/>
            <a:ext cx="385477" cy="6858000"/>
          </a:xfrm>
          <a:prstGeom prst="rect">
            <a:avLst/>
          </a:prstGeom>
        </p:spPr>
      </p:pic>
      <p:sp>
        <p:nvSpPr>
          <p:cNvPr id="64" name="PanelWhite"/>
          <p:cNvSpPr/>
          <p:nvPr/>
        </p:nvSpPr>
        <p:spPr bwMode="white">
          <a:xfrm>
            <a:off x="1" y="0"/>
            <a:ext cx="536467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622800"/>
            <a:ext cx="4563113" cy="34163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391370016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ue high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5">
            <a:extLst>
              <a:ext uri="{FF2B5EF4-FFF2-40B4-BE49-F238E27FC236}">
                <a16:creationId xmlns:a16="http://schemas.microsoft.com/office/drawing/2014/main" xmlns="" id="{B1FB6466-80B9-445D-9C98-33BBABFDD387}"/>
              </a:ext>
            </a:extLst>
          </p:cNvPr>
          <p:cNvSpPr/>
          <p:nvPr/>
        </p:nvSpPr>
        <p:spPr bwMode="ltGray">
          <a:xfrm>
            <a:off x="6277634" y="-1309"/>
            <a:ext cx="2866365" cy="6859309"/>
          </a:xfrm>
          <a:prstGeom prst="rect">
            <a:avLst/>
          </a:prstGeom>
          <a:solidFill>
            <a:srgbClr val="273873"/>
          </a:solidFill>
          <a:ln w="12700" cap="flat" cmpd="sng" algn="ctr">
            <a:solidFill>
              <a:srgbClr val="2738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132041385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49154" name="Слайд think-cell" r:id="rId4" imgW="360" imgH="360" progId="">
              <p:embed/>
            </p:oleObj>
          </a:graphicData>
        </a:graphic>
      </p:graphicFrame>
      <p:pic>
        <p:nvPicPr>
          <p:cNvPr id="61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277634" y="0"/>
            <a:ext cx="385477" cy="6858000"/>
          </a:xfrm>
          <a:prstGeom prst="rect">
            <a:avLst/>
          </a:prstGeom>
        </p:spPr>
      </p:pic>
      <p:sp>
        <p:nvSpPr>
          <p:cNvPr id="19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622800"/>
            <a:ext cx="4563113" cy="34163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281836733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Four column blue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723400626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50178" name="Слайд think-cell" r:id="rId4" imgW="360" imgH="360" progId="">
              <p:embed/>
            </p:oleObj>
          </a:graphicData>
        </a:graphic>
      </p:graphicFrame>
      <p:sp>
        <p:nvSpPr>
          <p:cNvPr id="15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720484" y="0"/>
            <a:ext cx="385477" cy="6858000"/>
          </a:xfrm>
          <a:prstGeom prst="rect">
            <a:avLst/>
          </a:prstGeom>
        </p:spPr>
      </p:pic>
      <p:sp>
        <p:nvSpPr>
          <p:cNvPr id="63" name="PanelWhite"/>
          <p:cNvSpPr/>
          <p:nvPr/>
        </p:nvSpPr>
        <p:spPr bwMode="white">
          <a:xfrm>
            <a:off x="0" y="0"/>
            <a:ext cx="672616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622800"/>
            <a:ext cx="5932266" cy="34163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u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04474131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51202" name="Слайд think-cell" r:id="rId4" imgW="360" imgH="360" progId="">
              <p:embed/>
            </p:oleObj>
          </a:graphicData>
        </a:graphic>
      </p:graphicFrame>
      <p:pic>
        <p:nvPicPr>
          <p:cNvPr id="62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/>
        </p:nvSpPr>
        <p:spPr bwMode="white">
          <a:xfrm>
            <a:off x="3102278" y="-1309"/>
            <a:ext cx="6041722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ue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44746137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52226" name="Слайд think-cell" r:id="rId4" imgW="360" imgH="360" progId="">
              <p:embed/>
            </p:oleObj>
          </a:graphicData>
        </a:graphic>
      </p:graphicFrame>
      <p:pic>
        <p:nvPicPr>
          <p:cNvPr id="64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194424" y="0"/>
            <a:ext cx="385477" cy="6858000"/>
          </a:xfrm>
          <a:prstGeom prst="rect">
            <a:avLst/>
          </a:prstGeom>
        </p:spPr>
      </p:pic>
      <p:sp>
        <p:nvSpPr>
          <p:cNvPr id="65" name="PanelWhite"/>
          <p:cNvSpPr/>
          <p:nvPr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6" y="0"/>
            <a:ext cx="4572554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9" y="1785600"/>
            <a:ext cx="3203446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ue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68002893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53250" name="Слайд think-cell" r:id="rId4" imgW="360" imgH="360" progId="">
              <p:embed/>
            </p:oleObj>
          </a:graphicData>
        </a:graphic>
      </p:graphicFrame>
      <p:pic>
        <p:nvPicPr>
          <p:cNvPr id="64" name="Shadow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452714" y="0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/>
        </p:nvSpPr>
        <p:spPr bwMode="gray">
          <a:xfrm>
            <a:off x="5830892" y="0"/>
            <a:ext cx="3313108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8" y="1785600"/>
            <a:ext cx="45659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97355836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54274" name="Слайд think-cell" r:id="rId4" imgW="360" imgH="360" progId="">
              <p:embed/>
            </p:oleObj>
          </a:graphicData>
        </a:graphic>
      </p:graphicFrame>
      <p:pic>
        <p:nvPicPr>
          <p:cNvPr id="64" name="Shado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ArrowPanelWhite"/>
          <p:cNvSpPr/>
          <p:nvPr/>
        </p:nvSpPr>
        <p:spPr bwMode="ltGray">
          <a:xfrm>
            <a:off x="0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2771846"/>
            <a:ext cx="1831015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5C589084-4CF7-4E74-9283-89DDE3C9800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445332465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9218" name="Слайд think-cell" r:id="rId4" imgW="360" imgH="360" progId="">
              <p:embed/>
            </p:oleObj>
          </a:graphicData>
        </a:graphic>
      </p:graphicFrame>
      <p:sp>
        <p:nvSpPr>
          <p:cNvPr id="7" name="PanelGreen">
            <a:extLst>
              <a:ext uri="{FF2B5EF4-FFF2-40B4-BE49-F238E27FC236}">
                <a16:creationId xmlns:a16="http://schemas.microsoft.com/office/drawing/2014/main" xmlns="" id="{A9DE2E54-FEDC-4E46-9F74-1E346B59A75C}"/>
              </a:ext>
            </a:extLst>
          </p:cNvPr>
          <p:cNvSpPr>
            <a:spLocks noChangeAspect="1"/>
          </p:cNvSpPr>
          <p:nvPr/>
        </p:nvSpPr>
        <p:spPr bwMode="black">
          <a:xfrm>
            <a:off x="581539" y="2202873"/>
            <a:ext cx="4986655" cy="3953127"/>
          </a:xfrm>
          <a:prstGeom prst="rect">
            <a:avLst/>
          </a:prstGeom>
          <a:gradFill flip="none" rotWithShape="1">
            <a:gsLst>
              <a:gs pos="0">
                <a:srgbClr val="273873">
                  <a:alpha val="89804"/>
                </a:srgb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BD0A1494-97A9-4451-ACE3-85D52DA0AD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945084" y="5091396"/>
            <a:ext cx="440319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4E50EE49-2E12-4B9C-869A-AB7BC9402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945084" y="3968679"/>
            <a:ext cx="4403197" cy="88492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AA612F92-CC43-4D6B-8D8E-617DEE5AD75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797" y="2723250"/>
            <a:ext cx="1809617" cy="70575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09778718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ue left arrow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87431669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55298" name="Слайд think-cell" r:id="rId4" imgW="360" imgH="360" progId="">
              <p:embed/>
            </p:oleObj>
          </a:graphicData>
        </a:graphic>
      </p:graphicFrame>
      <p:sp>
        <p:nvSpPr>
          <p:cNvPr id="65" name="ArrowPanelWhite"/>
          <p:cNvSpPr/>
          <p:nvPr/>
        </p:nvSpPr>
        <p:spPr bwMode="ltGray">
          <a:xfrm>
            <a:off x="0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39" y="2771846"/>
            <a:ext cx="1831015" cy="1314311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644808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6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 rot="120000">
            <a:off x="1301049" y="3402829"/>
            <a:ext cx="2487384" cy="346174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73357213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70912565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56322" name="Слайд think-cell" r:id="rId4" imgW="360" imgH="360" progId="">
              <p:embed/>
            </p:oleObj>
          </a:graphicData>
        </a:graphic>
      </p:graphicFrame>
      <p:pic>
        <p:nvPicPr>
          <p:cNvPr id="61" name="Shado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942" y="3395663"/>
            <a:ext cx="1198685" cy="35718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White"/>
          <p:cNvSpPr>
            <a:spLocks noChangeArrowheads="1"/>
          </p:cNvSpPr>
          <p:nvPr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1785600"/>
            <a:ext cx="29675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ue arrow one third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00876286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57346" name="Слайд think-cell" r:id="rId4" imgW="360" imgH="360" progId="">
              <p:embed/>
            </p:oleObj>
          </a:graphicData>
        </a:graphic>
      </p:graphicFrame>
      <p:sp>
        <p:nvSpPr>
          <p:cNvPr id="64" name="ArrowPanelWhite"/>
          <p:cNvSpPr>
            <a:spLocks noChangeArrowheads="1"/>
          </p:cNvSpPr>
          <p:nvPr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1785600"/>
            <a:ext cx="29675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644808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6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2385805" y="3416300"/>
            <a:ext cx="2487384" cy="34417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42175841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41516036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58370" name="Слайд think-cell" r:id="rId4" imgW="360" imgH="360" progId="">
              <p:embed/>
            </p:oleObj>
          </a:graphicData>
        </a:graphic>
      </p:graphicFrame>
      <p:pic>
        <p:nvPicPr>
          <p:cNvPr id="61" name="Shado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0397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0"/>
            <a:ext cx="3412754" cy="34163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ue arrow half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95482826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59394" name="Слайд think-cell" r:id="rId4" imgW="360" imgH="360" progId="">
              <p:embed/>
            </p:oleObj>
          </a:graphicData>
        </a:graphic>
      </p:graphicFrame>
      <p:sp>
        <p:nvSpPr>
          <p:cNvPr id="62" name="ArrowPanelWhite"/>
          <p:cNvSpPr/>
          <p:nvPr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0"/>
            <a:ext cx="3412754" cy="34163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644808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5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 rot="120000">
            <a:off x="3033319" y="3407804"/>
            <a:ext cx="2487384" cy="345655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5123012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08386684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60418" name="Слайд think-cell" r:id="rId4" imgW="360" imgH="360" progId="">
              <p:embed/>
            </p:oleObj>
          </a:graphicData>
        </a:graphic>
      </p:graphicFrame>
      <p:pic>
        <p:nvPicPr>
          <p:cNvPr id="61" name="Shado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6725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622800"/>
            <a:ext cx="4567614" cy="34163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ue arrow two third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603562174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61442" name="Слайд think-cell" r:id="rId4" imgW="360" imgH="360" progId="">
              <p:embed/>
            </p:oleObj>
          </a:graphicData>
        </a:graphic>
      </p:graphicFrame>
      <p:sp>
        <p:nvSpPr>
          <p:cNvPr id="62" name="ArrowPanelWhite"/>
          <p:cNvSpPr/>
          <p:nvPr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622800"/>
            <a:ext cx="4567614" cy="34163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Copyright" hidden="1"/>
          <p:cNvSpPr txBox="1"/>
          <p:nvPr/>
        </p:nvSpPr>
        <p:spPr>
          <a:xfrm rot="16200000">
            <a:off x="644808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5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 rot="120000">
            <a:off x="4505250" y="3407804"/>
            <a:ext cx="2487384" cy="345655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37428009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ig statement blue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89684592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62466" name="Слайд think-cell" r:id="rId4" imgW="360" imgH="360" progId="">
              <p:embed/>
            </p:oleObj>
          </a:graphicData>
        </a:graphic>
      </p:graphicFrame>
      <p:sp>
        <p:nvSpPr>
          <p:cNvPr id="10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45159060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63490" name="Слайд think-cell" r:id="rId4" imgW="360" imgH="360" progId="">
              <p:embed/>
            </p:oleObj>
          </a:graphicData>
        </a:graphic>
      </p:graphicFrame>
      <p:sp>
        <p:nvSpPr>
          <p:cNvPr id="11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/>
        </p:nvSpPr>
        <p:spPr bwMode="white">
          <a:xfrm>
            <a:off x="581539" y="622800"/>
            <a:ext cx="847123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hadow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5157008" y="1566641"/>
            <a:ext cx="769257" cy="7204727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653079139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64514" name="Слайд think-cell" r:id="rId4" imgW="360" imgH="360" progId="">
              <p:embed/>
            </p:oleObj>
          </a:graphicData>
        </a:graphic>
      </p:graphicFrame>
      <p:sp>
        <p:nvSpPr>
          <p:cNvPr id="6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2" name="Bubble"/>
          <p:cNvGrpSpPr/>
          <p:nvPr/>
        </p:nvGrpSpPr>
        <p:grpSpPr>
          <a:xfrm>
            <a:off x="1" y="1"/>
            <a:ext cx="9143998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dirty="0">
                <a:solidFill>
                  <a:schemeClr val="tx1"/>
                </a:solidFill>
                <a:latin typeface="+mj-lt"/>
                <a:cs typeface="Calibri" panose="020F050202020403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dirty="0">
                <a:solidFill>
                  <a:schemeClr val="tx1"/>
                </a:solidFill>
                <a:latin typeface="+mj-lt"/>
                <a:cs typeface="Calibri" panose="020F0502020204030204" pitchFamily="34" charset="0"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24DDADDC-2132-432B-8CAE-A4757E3CE171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375831854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10242" name="Слайд think-cell" r:id="rId4" imgW="360" imgH="360" progId="">
              <p:embed/>
            </p:oleObj>
          </a:graphicData>
        </a:graphic>
      </p:graphicFrame>
      <p:sp>
        <p:nvSpPr>
          <p:cNvPr id="7" name="PanelGreen">
            <a:extLst>
              <a:ext uri="{FF2B5EF4-FFF2-40B4-BE49-F238E27FC236}">
                <a16:creationId xmlns:a16="http://schemas.microsoft.com/office/drawing/2014/main" xmlns="" id="{A9DE2E54-FEDC-4E46-9F74-1E346B59A75C}"/>
              </a:ext>
            </a:extLst>
          </p:cNvPr>
          <p:cNvSpPr>
            <a:spLocks noChangeAspect="1"/>
          </p:cNvSpPr>
          <p:nvPr/>
        </p:nvSpPr>
        <p:spPr bwMode="black">
          <a:xfrm>
            <a:off x="581539" y="2202873"/>
            <a:ext cx="4986655" cy="3953127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BD0A1494-97A9-4451-ACE3-85D52DA0AD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945084" y="5091396"/>
            <a:ext cx="440319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4E50EE49-2E12-4B9C-869A-AB7BC9402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945084" y="3968679"/>
            <a:ext cx="4403197" cy="88492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AA612F92-CC43-4D6B-8D8E-617DEE5AD75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797" y="2723250"/>
            <a:ext cx="1809617" cy="70575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6275436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Special gray">
    <p:bg>
      <p:bgPr>
        <a:solidFill>
          <a:srgbClr val="8C8D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99619287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65538" name="Слайд think-cell" r:id="rId4" imgW="360" imgH="360" progId="">
              <p:embed/>
            </p:oleObj>
          </a:graphicData>
        </a:graphic>
      </p:graphicFrame>
      <p:sp>
        <p:nvSpPr>
          <p:cNvPr id="5" name="Page"/>
          <p:cNvSpPr txBox="1"/>
          <p:nvPr/>
        </p:nvSpPr>
        <p:spPr bwMode="white">
          <a:xfrm>
            <a:off x="8264493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622800"/>
            <a:ext cx="7982031" cy="34163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28798821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66562" name="Слайд think-cell" r:id="rId4" imgW="360" imgH="360" progId="">
              <p:embed/>
            </p:oleObj>
          </a:graphicData>
        </a:graphic>
      </p:graphicFrame>
      <p:pic>
        <p:nvPicPr>
          <p:cNvPr id="62" name="Shado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/>
        </p:nvSpPr>
        <p:spPr bwMode="ltGray">
          <a:xfrm>
            <a:off x="0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j-lt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71086" y="2352361"/>
            <a:ext cx="2053662" cy="215328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400" dirty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217158800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blue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56461067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67586" name="Слайд think-cell" r:id="rId4" imgW="360" imgH="360" progId="">
              <p:embed/>
            </p:oleObj>
          </a:graphicData>
        </a:graphic>
      </p:graphicFrame>
      <p:sp>
        <p:nvSpPr>
          <p:cNvPr id="11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644808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VSMPO, Inc. All rights reserved.</a:t>
            </a:r>
          </a:p>
        </p:txBody>
      </p:sp>
      <p:sp>
        <p:nvSpPr>
          <p:cNvPr id="8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About VSMPO.pptx</a:t>
            </a:r>
          </a:p>
        </p:txBody>
      </p:sp>
    </p:spTree>
    <p:extLst>
      <p:ext uri="{BB962C8B-B14F-4D97-AF65-F5344CB8AC3E}">
        <p14:creationId xmlns=""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361361800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68610" name="Слайд think-cell" r:id="rId3" imgW="360" imgH="360" progId="">
              <p:embed/>
            </p:oleObj>
          </a:graphicData>
        </a:graphic>
      </p:graphicFrame>
      <p:sp>
        <p:nvSpPr>
          <p:cNvPr id="7" name="PanelGreen">
            <a:extLst>
              <a:ext uri="{FF2B5EF4-FFF2-40B4-BE49-F238E27FC236}">
                <a16:creationId xmlns:a16="http://schemas.microsoft.com/office/drawing/2014/main" xmlns="" id="{A9DE2E54-FEDC-4E46-9F74-1E346B59A75C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2127081" y="0"/>
            <a:ext cx="7016919" cy="6858000"/>
          </a:xfrm>
          <a:prstGeom prst="rect">
            <a:avLst/>
          </a:prstGeom>
          <a:gradFill flip="none" rotWithShape="1">
            <a:gsLst>
              <a:gs pos="0">
                <a:srgbClr val="273873">
                  <a:alpha val="89804"/>
                </a:srgb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BD0A1494-97A9-4451-ACE3-85D52DA0AD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770346" y="4109253"/>
            <a:ext cx="440319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4E50EE49-2E12-4B9C-869A-AB7BC9402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3770346" y="2986536"/>
            <a:ext cx="4403197" cy="88492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AA612F92-CC43-4D6B-8D8E-617DEE5AD7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7341" y="402289"/>
            <a:ext cx="1809617" cy="705751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F4029F38-980F-49DC-9A90-792336EA02F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3484887" cy="685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56687637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400800" y="6356350"/>
            <a:ext cx="2289048" cy="365760"/>
          </a:xfrm>
          <a:prstGeom prst="rect">
            <a:avLst/>
          </a:prstGeom>
        </p:spPr>
        <p:txBody>
          <a:bodyPr/>
          <a:lstStyle/>
          <a:p>
            <a:fld id="{16F1615F-1EDE-481B-AE0D-936793AF1FFC}" type="datetime1">
              <a:rPr lang="ru-RU" smtClean="0"/>
              <a:pPr/>
              <a:t>0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898648" y="6356350"/>
            <a:ext cx="3505200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12648" y="6356350"/>
            <a:ext cx="1981200" cy="365760"/>
          </a:xfrm>
          <a:prstGeom prst="rect">
            <a:avLst/>
          </a:prstGeom>
        </p:spPr>
        <p:txBody>
          <a:bodyPr/>
          <a:lstStyle/>
          <a:p>
            <a:fld id="{5E27532D-B104-45FA-A767-9A6F113EE23C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A4F264E8-041B-4F74-A3D7-D2C493A7BC0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0" y="-22310"/>
            <a:ext cx="9144000" cy="6858000"/>
          </a:xfrm>
          <a:prstGeom prst="rect">
            <a:avLst/>
          </a:prstGeom>
        </p:spPr>
      </p:pic>
      <p:sp>
        <p:nvSpPr>
          <p:cNvPr id="10" name="PanelGreen">
            <a:extLst>
              <a:ext uri="{FF2B5EF4-FFF2-40B4-BE49-F238E27FC236}">
                <a16:creationId xmlns:a16="http://schemas.microsoft.com/office/drawing/2014/main" xmlns="" id="{F0069C25-DA3E-4D5A-9B99-EE8CBAAD23DD}"/>
              </a:ext>
            </a:extLst>
          </p:cNvPr>
          <p:cNvSpPr>
            <a:spLocks noChangeAspect="1"/>
          </p:cNvSpPr>
          <p:nvPr/>
        </p:nvSpPr>
        <p:spPr bwMode="black">
          <a:xfrm>
            <a:off x="581539" y="2202873"/>
            <a:ext cx="4986655" cy="3953127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176265271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11266" name="Слайд think-cell" r:id="rId4" imgW="360" imgH="360" progId="">
              <p:embed/>
            </p:oleObj>
          </a:graphicData>
        </a:graphic>
      </p:graphicFrame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BD0A1494-97A9-4451-ACE3-85D52DA0AD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945084" y="5091396"/>
            <a:ext cx="440319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4E50EE49-2E12-4B9C-869A-AB7BC9402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945084" y="3968679"/>
            <a:ext cx="4403197" cy="88492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AA612F92-CC43-4D6B-8D8E-617DEE5AD75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797" y="2723250"/>
            <a:ext cx="1809617" cy="70575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6872829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43D08182-6C7C-446C-860B-240B1DC6DC5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PanelGreen">
            <a:extLst>
              <a:ext uri="{FF2B5EF4-FFF2-40B4-BE49-F238E27FC236}">
                <a16:creationId xmlns:a16="http://schemas.microsoft.com/office/drawing/2014/main" xmlns="" id="{16A43DE3-9CAC-4C48-8335-2D07A9D1F17B}"/>
              </a:ext>
            </a:extLst>
          </p:cNvPr>
          <p:cNvSpPr>
            <a:spLocks noChangeAspect="1"/>
          </p:cNvSpPr>
          <p:nvPr/>
        </p:nvSpPr>
        <p:spPr bwMode="black">
          <a:xfrm>
            <a:off x="581539" y="2202873"/>
            <a:ext cx="4986655" cy="3953127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92838010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12290" name="Слайд think-cell" r:id="rId4" imgW="360" imgH="360" progId="">
              <p:embed/>
            </p:oleObj>
          </a:graphicData>
        </a:graphic>
      </p:graphicFrame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BD0A1494-97A9-4451-ACE3-85D52DA0AD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945084" y="5091396"/>
            <a:ext cx="440319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4E50EE49-2E12-4B9C-869A-AB7BC9402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945084" y="3968679"/>
            <a:ext cx="4403197" cy="88492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AA612F92-CC43-4D6B-8D8E-617DEE5AD75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797" y="2723250"/>
            <a:ext cx="1809617" cy="70575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46285645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F7124C2F-1D50-4F0C-89A8-D7E6C063249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1" name="PanelGreen">
            <a:extLst>
              <a:ext uri="{FF2B5EF4-FFF2-40B4-BE49-F238E27FC236}">
                <a16:creationId xmlns:a16="http://schemas.microsoft.com/office/drawing/2014/main" xmlns="" id="{F7E05454-BD37-47F1-9DA1-81BF0503C489}"/>
              </a:ext>
            </a:extLst>
          </p:cNvPr>
          <p:cNvSpPr>
            <a:spLocks noChangeAspect="1"/>
          </p:cNvSpPr>
          <p:nvPr/>
        </p:nvSpPr>
        <p:spPr bwMode="black">
          <a:xfrm>
            <a:off x="581539" y="2202873"/>
            <a:ext cx="4986655" cy="3953127"/>
          </a:xfrm>
          <a:prstGeom prst="rect">
            <a:avLst/>
          </a:prstGeom>
          <a:gradFill flip="none" rotWithShape="1">
            <a:gsLst>
              <a:gs pos="0">
                <a:srgbClr val="273873">
                  <a:alpha val="89804"/>
                </a:srgb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8692555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13314" name="Слайд think-cell" r:id="rId4" imgW="360" imgH="360" progId="">
              <p:embed/>
            </p:oleObj>
          </a:graphicData>
        </a:graphic>
      </p:graphicFrame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BD0A1494-97A9-4451-ACE3-85D52DA0AD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945084" y="5091396"/>
            <a:ext cx="440319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4E50EE49-2E12-4B9C-869A-AB7BC9402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945084" y="3968679"/>
            <a:ext cx="4403197" cy="88492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AA612F92-CC43-4D6B-8D8E-617DEE5AD75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797" y="2723250"/>
            <a:ext cx="1809617" cy="70575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575620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37F8596D-7215-4FDE-8EC1-B1FCC3D837A1}"/>
              </a:ext>
            </a:extLst>
          </p:cNvPr>
          <p:cNvPicPr>
            <a:picLocks noChangeAspect="1"/>
          </p:cNvPicPr>
          <p:nvPr/>
        </p:nvPicPr>
        <p:blipFill>
          <a:blip r:embed="rId68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51171"/>
            <a:ext cx="9144000" cy="26161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720697307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p:oleObj spid="_x0000_s4098" name="Слайд think-cell" r:id="rId69" imgW="360" imgH="36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67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bg1"/>
              </a:solidFill>
              <a:latin typeface="Trebuchet MS" panose="020B0603020202020204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/>
        </p:nvSpPr>
        <p:spPr>
          <a:xfrm>
            <a:off x="8264493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Calibri" panose="020F0502020204030204" pitchFamily="34" charset="0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1538" y="2080800"/>
            <a:ext cx="7982031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52584" y="305300"/>
            <a:ext cx="6135785" cy="3416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xmlns="" id="{5901EC84-9230-49CA-8A4E-765BD58FC78F}"/>
              </a:ext>
            </a:extLst>
          </p:cNvPr>
          <p:cNvCxnSpPr>
            <a:cxnSpLocks/>
          </p:cNvCxnSpPr>
          <p:nvPr/>
        </p:nvCxnSpPr>
        <p:spPr>
          <a:xfrm>
            <a:off x="0" y="774700"/>
            <a:ext cx="9144000" cy="0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112DBD17-1FDA-4E56-8837-4159DD6306DA}"/>
              </a:ext>
            </a:extLst>
          </p:cNvPr>
          <p:cNvPicPr>
            <a:picLocks noChangeAspect="1"/>
          </p:cNvPicPr>
          <p:nvPr/>
        </p:nvPicPr>
        <p:blipFill>
          <a:blip r:embed="rId70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5784" y="110132"/>
            <a:ext cx="1415608" cy="55309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  <p:sldLayoutId id="2147483714" r:id="rId28"/>
    <p:sldLayoutId id="2147483715" r:id="rId29"/>
    <p:sldLayoutId id="2147483716" r:id="rId30"/>
    <p:sldLayoutId id="2147483717" r:id="rId31"/>
    <p:sldLayoutId id="2147483718" r:id="rId32"/>
    <p:sldLayoutId id="2147483719" r:id="rId33"/>
    <p:sldLayoutId id="2147483720" r:id="rId34"/>
    <p:sldLayoutId id="2147483721" r:id="rId35"/>
    <p:sldLayoutId id="2147483722" r:id="rId36"/>
    <p:sldLayoutId id="2147483723" r:id="rId37"/>
    <p:sldLayoutId id="2147483724" r:id="rId38"/>
    <p:sldLayoutId id="2147483725" r:id="rId39"/>
    <p:sldLayoutId id="2147483726" r:id="rId40"/>
    <p:sldLayoutId id="2147483727" r:id="rId41"/>
    <p:sldLayoutId id="2147483728" r:id="rId42"/>
    <p:sldLayoutId id="2147483729" r:id="rId43"/>
    <p:sldLayoutId id="2147483730" r:id="rId44"/>
    <p:sldLayoutId id="2147483731" r:id="rId45"/>
    <p:sldLayoutId id="2147483732" r:id="rId46"/>
    <p:sldLayoutId id="2147483733" r:id="rId47"/>
    <p:sldLayoutId id="2147483734" r:id="rId48"/>
    <p:sldLayoutId id="2147483735" r:id="rId49"/>
    <p:sldLayoutId id="2147483736" r:id="rId50"/>
    <p:sldLayoutId id="2147483737" r:id="rId51"/>
    <p:sldLayoutId id="2147483738" r:id="rId52"/>
    <p:sldLayoutId id="2147483739" r:id="rId53"/>
    <p:sldLayoutId id="2147483740" r:id="rId54"/>
    <p:sldLayoutId id="2147483741" r:id="rId55"/>
    <p:sldLayoutId id="2147483742" r:id="rId56"/>
    <p:sldLayoutId id="2147483743" r:id="rId57"/>
    <p:sldLayoutId id="2147483744" r:id="rId58"/>
    <p:sldLayoutId id="2147483745" r:id="rId59"/>
    <p:sldLayoutId id="2147483746" r:id="rId60"/>
    <p:sldLayoutId id="2147483747" r:id="rId61"/>
    <p:sldLayoutId id="2147483748" r:id="rId62"/>
    <p:sldLayoutId id="2147483749" r:id="rId63"/>
    <p:sldLayoutId id="2147483750" r:id="rId64"/>
  </p:sldLayoutIdLst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Circe" panose="020B0502020203020203" pitchFamily="34" charset="-52"/>
          <a:ea typeface="+mj-ea"/>
          <a:cs typeface="Calibri" panose="020F0502020204030204" pitchFamily="34" charset="0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Circe" panose="020B0502020203020203" pitchFamily="34" charset="-52"/>
          <a:ea typeface="+mn-ea"/>
          <a:cs typeface="Calibri" panose="020F0502020204030204" pitchFamily="34" charset="0"/>
          <a:sym typeface="Trebuchet MS" panose="020B0603020202020204" pitchFamily="34" charset="0"/>
        </a:defRPr>
      </a:lvl1pPr>
      <a:lvl2pPr marL="274320" indent="-18288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Circe" panose="020B0502020203020203" pitchFamily="34" charset="-52"/>
          <a:ea typeface="+mn-ea"/>
          <a:cs typeface="Calibri" panose="020F0502020204030204" pitchFamily="34" charset="0"/>
          <a:sym typeface="Trebuchet MS" panose="020B0603020202020204" pitchFamily="34" charset="0"/>
        </a:defRPr>
      </a:lvl2pPr>
      <a:lvl3pPr marL="539496" indent="-18288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Circe" panose="020B0502020203020203" pitchFamily="34" charset="-52"/>
          <a:ea typeface="+mn-ea"/>
          <a:cs typeface="Calibri" panose="020F0502020204030204" pitchFamily="34" charset="0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Circe" panose="020B0502020203020203" pitchFamily="34" charset="-52"/>
          <a:ea typeface="+mn-ea"/>
          <a:cs typeface="Calibri" panose="020F0502020204030204" pitchFamily="34" charset="0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Circe" panose="020B0502020203020203" pitchFamily="34" charset="-52"/>
          <a:ea typeface="+mn-ea"/>
          <a:cs typeface="Calibri" panose="020F0502020204030204" pitchFamily="34" charset="0"/>
          <a:sym typeface="Trebuchet MS" panose="020B0603020202020204" pitchFamily="34" charset="0"/>
        </a:defRPr>
      </a:lvl5pPr>
      <a:lvl6pPr marL="274320" indent="-18288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Circe" panose="020B0502020203020203" pitchFamily="34" charset="-52"/>
          <a:ea typeface="+mn-ea"/>
          <a:cs typeface="Calibri" panose="020F0502020204030204" pitchFamily="34" charset="0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Circe" panose="020B0502020203020203" pitchFamily="34" charset="-52"/>
          <a:ea typeface="+mn-ea"/>
          <a:cs typeface="Calibri" panose="020F0502020204030204" pitchFamily="34" charset="0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Circe" panose="020B0502020203020203" pitchFamily="34" charset="-52"/>
          <a:ea typeface="+mn-ea"/>
          <a:cs typeface="Calibri" panose="020F0502020204030204" pitchFamily="34" charset="0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Circe" panose="020B0502020203020203" pitchFamily="34" charset="-52"/>
          <a:ea typeface="+mn-ea"/>
          <a:cs typeface="Calibri" panose="020F0502020204030204" pitchFamily="34" charset="0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310" userDrawn="1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5845" userDrawn="1">
          <p15:clr>
            <a:srgbClr val="F26B43"/>
          </p15:clr>
        </p15:guide>
        <p15:guide id="4" orient="horz" pos="38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46.jpeg"/><Relationship Id="rId7" Type="http://schemas.openxmlformats.org/officeDocument/2006/relationships/diagramColors" Target="../diagrams/colors2.xml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35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9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1.png"/><Relationship Id="rId5" Type="http://schemas.openxmlformats.org/officeDocument/2006/relationships/image" Target="../media/image50.jpeg"/><Relationship Id="rId4" Type="http://schemas.microsoft.com/office/2007/relationships/hdphoto" Target="../media/hdphoto4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55.png"/><Relationship Id="rId4" Type="http://schemas.openxmlformats.org/officeDocument/2006/relationships/image" Target="../media/image5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62.png"/><Relationship Id="rId4" Type="http://schemas.openxmlformats.org/officeDocument/2006/relationships/image" Target="../media/image61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30.jpeg"/><Relationship Id="rId7" Type="http://schemas.openxmlformats.org/officeDocument/2006/relationships/image" Target="../media/image33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5.xml"/><Relationship Id="rId6" Type="http://schemas.microsoft.com/office/2007/relationships/hdphoto" Target="../media/hdphoto3.wdp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5.xml"/><Relationship Id="rId6" Type="http://schemas.openxmlformats.org/officeDocument/2006/relationships/chart" Target="../charts/chart3.xml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0.png"/><Relationship Id="rId5" Type="http://schemas.openxmlformats.org/officeDocument/2006/relationships/chart" Target="../charts/chart4.xml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9BBB3EE2-0EF5-46B1-9086-821CEC0AFC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2604" y="5511335"/>
            <a:ext cx="5474993" cy="64196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dirty="0"/>
              <a:t/>
            </a:r>
            <a:br>
              <a:rPr lang="ru-RU" sz="3200" dirty="0"/>
            </a:br>
            <a:r>
              <a:rPr lang="ru-RU" sz="5100" dirty="0"/>
              <a:t/>
            </a:r>
            <a:br>
              <a:rPr lang="ru-RU" sz="5100" dirty="0"/>
            </a:br>
            <a:endParaRPr lang="ru-RU" sz="5100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1FC38170-5883-44C7-A751-8719E4A15D70}"/>
              </a:ext>
            </a:extLst>
          </p:cNvPr>
          <p:cNvSpPr/>
          <p:nvPr/>
        </p:nvSpPr>
        <p:spPr>
          <a:xfrm>
            <a:off x="2915816" y="1120676"/>
            <a:ext cx="604867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Circe"/>
              </a:rPr>
              <a:t>Программа сетевого взаимодействия ПАО «Корпорация ВСМПО-АВИСМА»</a:t>
            </a:r>
          </a:p>
          <a:p>
            <a:pPr algn="ctr">
              <a:lnSpc>
                <a:spcPct val="1500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Circe"/>
              </a:rPr>
              <a:t> с управлением образования администрации ВСГО и образовательных организация</a:t>
            </a:r>
          </a:p>
          <a:p>
            <a:pPr algn="ctr">
              <a:lnSpc>
                <a:spcPct val="1500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Circe"/>
              </a:rPr>
              <a:t> города В.Салда на 2021-2022 год</a:t>
            </a:r>
            <a:endParaRPr lang="ru-RU" sz="2400" b="1" dirty="0">
              <a:solidFill>
                <a:schemeClr val="bg1"/>
              </a:solidFill>
              <a:latin typeface="Circe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550836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1481781155_prof-470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0822" y="552939"/>
            <a:ext cx="4476750" cy="2362200"/>
          </a:xfrm>
          <a:prstGeom prst="rect">
            <a:avLst/>
          </a:prstGeom>
        </p:spPr>
      </p:pic>
      <p:pic>
        <p:nvPicPr>
          <p:cNvPr id="6" name="Рисунок 5" descr="1479900637_professii-470.jpg"/>
          <p:cNvPicPr>
            <a:picLocks noChangeAspect="1"/>
          </p:cNvPicPr>
          <p:nvPr/>
        </p:nvPicPr>
        <p:blipFill>
          <a:blip r:embed="rId3" cstate="print"/>
          <a:srcRect l="13624"/>
          <a:stretch>
            <a:fillRect/>
          </a:stretch>
        </p:blipFill>
        <p:spPr>
          <a:xfrm>
            <a:off x="4337000" y="3578022"/>
            <a:ext cx="4788024" cy="2924944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 bwMode="auto">
          <a:xfrm rot="193970">
            <a:off x="1041988" y="3219840"/>
            <a:ext cx="2574419" cy="3317574"/>
          </a:xfrm>
          <a:prstGeom prst="ellipse">
            <a:avLst/>
          </a:prstGeom>
          <a:solidFill>
            <a:srgbClr val="9DD8FD"/>
          </a:solidFill>
          <a:ln w="34925">
            <a:solidFill>
              <a:srgbClr val="FFFFFF"/>
            </a:solidFill>
            <a:miter lim="800000"/>
            <a:headEnd/>
            <a:tailEnd/>
          </a:ln>
          <a:effectLst>
            <a:outerShdw blurRad="317500" dir="2700000" algn="ctr">
              <a:srgbClr val="000000">
                <a:alpha val="43000"/>
              </a:srgbClr>
            </a:outerShdw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txBody>
          <a:bodyPr wrap="square" anchor="ctr"/>
          <a:lstStyle/>
          <a:p>
            <a:pPr algn="ctr">
              <a:defRPr/>
            </a:pPr>
            <a:r>
              <a:rPr lang="ru-RU" sz="4000" b="1" dirty="0" smtClean="0">
                <a:solidFill>
                  <a:srgbClr val="000066"/>
                </a:solidFill>
                <a:latin typeface="Arial Black" pitchFamily="34" charset="0"/>
              </a:rPr>
              <a:t>70% </a:t>
            </a:r>
            <a:endParaRPr lang="ru-RU" sz="2000" b="1" dirty="0" smtClean="0">
              <a:solidFill>
                <a:srgbClr val="000066"/>
              </a:solidFill>
              <a:latin typeface="Arial Black" pitchFamily="34" charset="0"/>
            </a:endParaRPr>
          </a:p>
          <a:p>
            <a:pPr algn="ctr">
              <a:defRPr/>
            </a:pPr>
            <a:r>
              <a:rPr lang="ru-RU" sz="2000" b="1" dirty="0" smtClean="0">
                <a:solidFill>
                  <a:srgbClr val="000066"/>
                </a:solidFill>
                <a:latin typeface="Arial Black" pitchFamily="34" charset="0"/>
              </a:rPr>
              <a:t>поступают </a:t>
            </a:r>
            <a:r>
              <a:rPr lang="ru-RU" sz="2000" b="1" dirty="0">
                <a:solidFill>
                  <a:srgbClr val="000066"/>
                </a:solidFill>
                <a:latin typeface="Arial Black" pitchFamily="34" charset="0"/>
              </a:rPr>
              <a:t>в</a:t>
            </a:r>
          </a:p>
          <a:p>
            <a:pPr algn="ctr">
              <a:defRPr/>
            </a:pPr>
            <a:r>
              <a:rPr lang="ru-RU" sz="2000" b="1" dirty="0" smtClean="0">
                <a:solidFill>
                  <a:srgbClr val="000066"/>
                </a:solidFill>
                <a:latin typeface="Arial Black" pitchFamily="34" charset="0"/>
              </a:rPr>
              <a:t>Техникум по профилю «пробы»</a:t>
            </a:r>
            <a:endParaRPr lang="ru-RU" sz="2000" b="1" dirty="0">
              <a:solidFill>
                <a:srgbClr val="000066"/>
              </a:solidFill>
              <a:latin typeface="Arial Black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6876256" y="6390249"/>
            <a:ext cx="1981200" cy="365760"/>
          </a:xfrm>
          <a:prstGeom prst="rect">
            <a:avLst/>
          </a:prstGeom>
        </p:spPr>
        <p:txBody>
          <a:bodyPr/>
          <a:lstStyle/>
          <a:p>
            <a:pPr algn="r"/>
            <a:fld id="{5E27532D-B104-45FA-A767-9A6F113EE23C}" type="slidenum">
              <a:rPr lang="ru-RU" b="1" smtClean="0">
                <a:solidFill>
                  <a:schemeClr val="bg1"/>
                </a:solidFill>
              </a:rPr>
              <a:pPr algn="r"/>
              <a:t>10</a:t>
            </a:fld>
            <a:endParaRPr lang="ru-RU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xmlns="" val="829236812"/>
              </p:ext>
            </p:extLst>
          </p:nvPr>
        </p:nvGraphicFramePr>
        <p:xfrm>
          <a:off x="-363835" y="2717841"/>
          <a:ext cx="5386064" cy="4176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xmlns="" val="3739333383"/>
              </p:ext>
            </p:extLst>
          </p:nvPr>
        </p:nvGraphicFramePr>
        <p:xfrm>
          <a:off x="4522001" y="566442"/>
          <a:ext cx="4642876" cy="2425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6093" y="2968558"/>
            <a:ext cx="9144000" cy="492089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 i="1">
                <a:latin typeface="Microsoft YaHei Light" panose="020B0502040204020203" pitchFamily="34" charset="-122"/>
                <a:ea typeface="Microsoft YaHei Light" panose="020B0502040204020203" pitchFamily="34" charset="-122"/>
              </a:defRPr>
            </a:lvl1pPr>
          </a:lstStyle>
          <a:p>
            <a:r>
              <a:rPr lang="ru-RU" sz="1600" dirty="0"/>
              <a:t>Профессиональная проба в мастерских ВСМТ :  формирование первичных  профессиональных трудовых навыков  </a:t>
            </a:r>
            <a:r>
              <a:rPr lang="ru-RU" sz="1600" dirty="0">
                <a:solidFill>
                  <a:srgbClr val="FF0000"/>
                </a:solidFill>
              </a:rPr>
              <a:t>- 170  участников -  охват 19%  учащихся 8-9</a:t>
            </a: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620688"/>
          </a:xfrm>
          <a:prstGeom prst="rect">
            <a:avLst/>
          </a:prstGeom>
          <a:solidFill>
            <a:srgbClr val="002060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ФОРМА РАБОТЫ СО ШКОЛАМИ: 	4. ПРОФЕССИОНАЛЬНЫЕ ПРОБ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(ПРОФОРИЕНТАЦИЯ)		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IMG_1444.JPG"/>
          <p:cNvPicPr>
            <a:picLocks noChangeAspect="1"/>
          </p:cNvPicPr>
          <p:nvPr/>
        </p:nvPicPr>
        <p:blipFill>
          <a:blip r:embed="rId2" cstate="print"/>
          <a:srcRect t="14932" r="33389" b="11241"/>
          <a:stretch>
            <a:fillRect/>
          </a:stretch>
        </p:blipFill>
        <p:spPr>
          <a:xfrm>
            <a:off x="26371" y="3789040"/>
            <a:ext cx="3691992" cy="306896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30000"/>
                    </a14:imgEffect>
                  </a14:imgLayer>
                </a14:imgProps>
              </a:ext>
            </a:extLst>
          </a:blip>
          <a:srcRect l="19802" t="22429" r="20664" b="7852"/>
          <a:stretch/>
        </p:blipFill>
        <p:spPr>
          <a:xfrm>
            <a:off x="0" y="700757"/>
            <a:ext cx="5237937" cy="3450387"/>
          </a:xfrm>
          <a:prstGeom prst="rect">
            <a:avLst/>
          </a:prstGeom>
        </p:spPr>
      </p:pic>
      <p:pic>
        <p:nvPicPr>
          <p:cNvPr id="4" name="Рисунок 3" descr="IMG_1449.JPG"/>
          <p:cNvPicPr>
            <a:picLocks noChangeAspect="1"/>
          </p:cNvPicPr>
          <p:nvPr/>
        </p:nvPicPr>
        <p:blipFill>
          <a:blip r:embed="rId5" cstate="print"/>
          <a:srcRect l="12625" t="5537" r="11241" b="18623"/>
          <a:stretch>
            <a:fillRect/>
          </a:stretch>
        </p:blipFill>
        <p:spPr>
          <a:xfrm>
            <a:off x="4517623" y="705197"/>
            <a:ext cx="4626377" cy="3456352"/>
          </a:xfrm>
          <a:prstGeom prst="rect">
            <a:avLst/>
          </a:prstGeom>
        </p:spPr>
      </p:pic>
      <p:pic>
        <p:nvPicPr>
          <p:cNvPr id="30723" name="Picture 3"/>
          <p:cNvPicPr>
            <a:picLocks noChangeAspect="1" noChangeArrowheads="1"/>
          </p:cNvPicPr>
          <p:nvPr/>
        </p:nvPicPr>
        <p:blipFill rotWithShape="1">
          <a:blip r:embed="rId6" cstate="print"/>
          <a:srcRect l="2362" t="32332" r="8454" b="15421"/>
          <a:stretch/>
        </p:blipFill>
        <p:spPr bwMode="auto">
          <a:xfrm>
            <a:off x="3377989" y="4155584"/>
            <a:ext cx="5766011" cy="2702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6876256" y="6237312"/>
            <a:ext cx="1981200" cy="365760"/>
          </a:xfrm>
          <a:prstGeom prst="rect">
            <a:avLst/>
          </a:prstGeom>
        </p:spPr>
        <p:txBody>
          <a:bodyPr/>
          <a:lstStyle/>
          <a:p>
            <a:pPr algn="r"/>
            <a:fld id="{5E27532D-B104-45FA-A767-9A6F113EE23C}" type="slidenum">
              <a:rPr lang="ru-RU" b="1" smtClean="0">
                <a:solidFill>
                  <a:schemeClr val="tx1"/>
                </a:solidFill>
              </a:rPr>
              <a:pPr algn="r"/>
              <a:t>11</a:t>
            </a:fld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0" y="3760731"/>
            <a:ext cx="9144000" cy="761397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 i="1">
                <a:latin typeface="Microsoft YaHei Light" panose="020B0502040204020203" pitchFamily="34" charset="-122"/>
                <a:ea typeface="Microsoft YaHei Light" panose="020B0502040204020203" pitchFamily="34" charset="-122"/>
              </a:defRPr>
            </a:lvl1pPr>
          </a:lstStyle>
          <a:p>
            <a:r>
              <a:rPr lang="ru-RU" sz="1600" dirty="0"/>
              <a:t>Турниры по Столярному, Слесарному, Токарному и </a:t>
            </a:r>
            <a:r>
              <a:rPr lang="ru-RU" sz="1600" dirty="0" err="1"/>
              <a:t>Электро</a:t>
            </a:r>
            <a:r>
              <a:rPr lang="ru-RU" sz="1600" dirty="0"/>
              <a:t> делу среди учащихся 6-8 классов на базе Межшкольного комбината и мастерских колледжа - </a:t>
            </a:r>
            <a:r>
              <a:rPr lang="ru-RU" sz="1600" dirty="0">
                <a:solidFill>
                  <a:srgbClr val="FF0000"/>
                </a:solidFill>
              </a:rPr>
              <a:t>14 юношей – охват 2,3% от количества обучающихся юношей 6-8 классов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0" y="44624"/>
            <a:ext cx="9144000" cy="620688"/>
          </a:xfrm>
          <a:prstGeom prst="rect">
            <a:avLst/>
          </a:prstGeom>
          <a:solidFill>
            <a:srgbClr val="002060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ФОРМА РАБОТЫ СО ШКОЛАМИ: 	5. ПРОФЕССИОНАЛЬНЫЕ ТУРНИР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(ПРОФОРИЕНТАЦИЯ)		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1hzFVur9D-c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30149"/>
            <a:ext cx="3707904" cy="2867078"/>
          </a:xfrm>
          <a:prstGeom prst="rect">
            <a:avLst/>
          </a:prstGeom>
        </p:spPr>
      </p:pic>
      <p:pic>
        <p:nvPicPr>
          <p:cNvPr id="5" name="Рисунок 4" descr="IMG_4584.JPG"/>
          <p:cNvPicPr>
            <a:picLocks noChangeAspect="1"/>
          </p:cNvPicPr>
          <p:nvPr/>
        </p:nvPicPr>
        <p:blipFill>
          <a:blip r:embed="rId3" cstate="print"/>
          <a:srcRect r="51875" b="38410"/>
          <a:stretch>
            <a:fillRect/>
          </a:stretch>
        </p:blipFill>
        <p:spPr>
          <a:xfrm>
            <a:off x="5903640" y="4149080"/>
            <a:ext cx="3240360" cy="2708920"/>
          </a:xfrm>
          <a:prstGeom prst="rect">
            <a:avLst/>
          </a:prstGeom>
        </p:spPr>
      </p:pic>
      <p:pic>
        <p:nvPicPr>
          <p:cNvPr id="6" name="Рисунок 5" descr="UI.jpg"/>
          <p:cNvPicPr>
            <a:picLocks noChangeAspect="1"/>
          </p:cNvPicPr>
          <p:nvPr/>
        </p:nvPicPr>
        <p:blipFill>
          <a:blip r:embed="rId4" cstate="print"/>
          <a:srcRect l="17389" b="9928"/>
          <a:stretch>
            <a:fillRect/>
          </a:stretch>
        </p:blipFill>
        <p:spPr>
          <a:xfrm>
            <a:off x="0" y="3343275"/>
            <a:ext cx="6115256" cy="3514725"/>
          </a:xfrm>
          <a:prstGeom prst="rect">
            <a:avLst/>
          </a:prstGeom>
        </p:spPr>
      </p:pic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5" cstate="print"/>
          <a:srcRect l="7678" t="14765" r="42710" b="54966"/>
          <a:stretch>
            <a:fillRect/>
          </a:stretch>
        </p:blipFill>
        <p:spPr bwMode="auto">
          <a:xfrm>
            <a:off x="3084984" y="630149"/>
            <a:ext cx="6048672" cy="2952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316416" y="6237312"/>
            <a:ext cx="430960" cy="365760"/>
          </a:xfrm>
          <a:prstGeom prst="rect">
            <a:avLst/>
          </a:prstGeom>
        </p:spPr>
        <p:txBody>
          <a:bodyPr/>
          <a:lstStyle/>
          <a:p>
            <a:fld id="{5E27532D-B104-45FA-A767-9A6F113EE23C}" type="slidenum">
              <a:rPr lang="ru-RU" b="1" smtClean="0">
                <a:solidFill>
                  <a:schemeClr val="bg1"/>
                </a:solidFill>
              </a:rPr>
              <a:pPr/>
              <a:t>12</a:t>
            </a:fld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0" y="2780928"/>
            <a:ext cx="9144000" cy="941824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600" b="1" i="1">
                <a:latin typeface="Microsoft YaHei Light" panose="020B0502040204020203" pitchFamily="34" charset="-122"/>
                <a:ea typeface="Microsoft YaHei Light" panose="020B0502040204020203" pitchFamily="34" charset="-122"/>
              </a:defRPr>
            </a:lvl1pPr>
          </a:lstStyle>
          <a:p>
            <a:r>
              <a:rPr lang="ru-RU" sz="1400" dirty="0"/>
              <a:t>Профильные смены  на базе отдыха «Лесная сказка»,  «Тирус» и филиала </a:t>
            </a:r>
            <a:r>
              <a:rPr lang="ru-RU" sz="1400" dirty="0" err="1"/>
              <a:t>УрФУ</a:t>
            </a:r>
            <a:r>
              <a:rPr lang="ru-RU" sz="1400" dirty="0"/>
              <a:t>:</a:t>
            </a:r>
          </a:p>
          <a:p>
            <a:r>
              <a:rPr lang="ru-RU" sz="1400" dirty="0"/>
              <a:t> «Город мастеров» (2015г) «Лидер </a:t>
            </a:r>
            <a:r>
              <a:rPr lang="en-US" sz="1400" dirty="0"/>
              <a:t>XXI</a:t>
            </a:r>
            <a:r>
              <a:rPr lang="ru-RU" sz="1400" dirty="0"/>
              <a:t> века» (2016г.); «Школа юных исследователей» (2016г.); «Вектор интеллекта»  (2017г.) </a:t>
            </a:r>
            <a:r>
              <a:rPr lang="ru-RU" sz="1400" dirty="0">
                <a:solidFill>
                  <a:srgbClr val="FF0000"/>
                </a:solidFill>
              </a:rPr>
              <a:t>около 100 школьников  8-10 классов – охват  - 10 %, 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0" y="44624"/>
            <a:ext cx="9144000" cy="620688"/>
          </a:xfrm>
          <a:prstGeom prst="rect">
            <a:avLst/>
          </a:prstGeom>
          <a:solidFill>
            <a:srgbClr val="002060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ФОРМА РАБОТЫ СО ШКОЛАМИ: 	6.  ПРОФИЛЬНЫЕ СМЕН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(ПРОФОРИЕНТАЦИЯ)		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-24875" y="3789040"/>
            <a:ext cx="9168875" cy="504056"/>
          </a:xfrm>
          <a:prstGeom prst="rect">
            <a:avLst/>
          </a:prstGeom>
          <a:solidFill>
            <a:srgbClr val="FFCC66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600" b="1" i="1">
                <a:latin typeface="Microsoft YaHei Light" panose="020B0502040204020203" pitchFamily="34" charset="-122"/>
                <a:ea typeface="Microsoft YaHei Light" panose="020B0502040204020203" pitchFamily="34" charset="-122"/>
              </a:defRPr>
            </a:lvl1pPr>
          </a:lstStyle>
          <a:p>
            <a:pPr algn="just"/>
            <a:r>
              <a:rPr lang="ru-RU" sz="1400" dirty="0">
                <a:solidFill>
                  <a:schemeClr val="accent3"/>
                </a:solidFill>
              </a:rPr>
              <a:t>В  </a:t>
            </a:r>
            <a:r>
              <a:rPr lang="ru-RU" sz="1400" dirty="0" smtClean="0">
                <a:solidFill>
                  <a:schemeClr val="accent3"/>
                </a:solidFill>
              </a:rPr>
              <a:t>2021 </a:t>
            </a:r>
            <a:r>
              <a:rPr lang="ru-RU" sz="1400" dirty="0">
                <a:solidFill>
                  <a:schemeClr val="accent3"/>
                </a:solidFill>
              </a:rPr>
              <a:t>году </a:t>
            </a:r>
            <a:r>
              <a:rPr lang="ru-RU" sz="1400" dirty="0" smtClean="0">
                <a:solidFill>
                  <a:schemeClr val="accent3"/>
                </a:solidFill>
              </a:rPr>
              <a:t>Корпорация  планирует провести профильную смену  (Слёт организаторов производства) школьникам 5-6 класса на тему «Школа Бережливого мышления»</a:t>
            </a:r>
            <a:endParaRPr lang="ru-RU" sz="1400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2" cstate="print"/>
          <a:srcRect l="28970" t="17516" r="19561" b="23422"/>
          <a:stretch>
            <a:fillRect/>
          </a:stretch>
        </p:blipFill>
        <p:spPr bwMode="auto">
          <a:xfrm>
            <a:off x="5410583" y="4581128"/>
            <a:ext cx="3460734" cy="22327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 cstate="print"/>
          <a:srcRect l="25556" t="16531" r="23435" b="42079"/>
          <a:stretch/>
        </p:blipFill>
        <p:spPr bwMode="auto">
          <a:xfrm>
            <a:off x="-4895" y="1265418"/>
            <a:ext cx="5688632" cy="25951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316416" y="6237312"/>
            <a:ext cx="430960" cy="365760"/>
          </a:xfrm>
          <a:prstGeom prst="rect">
            <a:avLst/>
          </a:prstGeom>
        </p:spPr>
        <p:txBody>
          <a:bodyPr/>
          <a:lstStyle/>
          <a:p>
            <a:fld id="{5E27532D-B104-45FA-A767-9A6F113EE23C}" type="slidenum">
              <a:rPr lang="ru-RU" b="1" smtClean="0">
                <a:solidFill>
                  <a:schemeClr val="bg1"/>
                </a:solidFill>
              </a:rPr>
              <a:pPr/>
              <a:t>13</a:t>
            </a:fld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0" y="44624"/>
            <a:ext cx="9144000" cy="620688"/>
          </a:xfrm>
          <a:prstGeom prst="rect">
            <a:avLst/>
          </a:prstGeom>
          <a:solidFill>
            <a:srgbClr val="002060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ФОРМА РАБОТЫ СО ШКОЛАМИ: 	6.  ПРОФИЛЬНЫЕ СМЕН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(ПРОФОРИЕНТАЦИЯ)		</a:t>
            </a:r>
          </a:p>
        </p:txBody>
      </p:sp>
      <p:pic>
        <p:nvPicPr>
          <p:cNvPr id="11" name="Picture 1"/>
          <p:cNvPicPr>
            <a:picLocks noChangeAspect="1" noChangeArrowheads="1"/>
          </p:cNvPicPr>
          <p:nvPr/>
        </p:nvPicPr>
        <p:blipFill>
          <a:blip r:embed="rId4" cstate="print"/>
          <a:srcRect l="41227" t="23250" r="20033" b="25563"/>
          <a:stretch>
            <a:fillRect/>
          </a:stretch>
        </p:blipFill>
        <p:spPr bwMode="auto">
          <a:xfrm>
            <a:off x="5654382" y="1268311"/>
            <a:ext cx="3489618" cy="25922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0" y="2708920"/>
            <a:ext cx="9168875" cy="941824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600" b="1" i="1">
                <a:latin typeface="Microsoft YaHei Light" panose="020B0502040204020203" pitchFamily="34" charset="-122"/>
                <a:ea typeface="Microsoft YaHei Light" panose="020B0502040204020203" pitchFamily="34" charset="-122"/>
              </a:defRPr>
            </a:lvl1pPr>
          </a:lstStyle>
          <a:p>
            <a:pPr algn="just"/>
            <a:r>
              <a:rPr lang="ru-RU" sz="1400" dirty="0"/>
              <a:t>В  2018 году ОЭЗ «Титановая долина» познакомила Корпорацию,  Управление образования, Администрацию ВСГО с Фондом  по работе с талантливой молодежью «Золотое сечение». </a:t>
            </a:r>
            <a:endParaRPr lang="ru-RU" sz="1400" dirty="0" smtClean="0"/>
          </a:p>
          <a:p>
            <a:pPr algn="just"/>
            <a:r>
              <a:rPr lang="ru-RU" sz="1400" dirty="0" smtClean="0"/>
              <a:t>16 </a:t>
            </a:r>
            <a:r>
              <a:rPr lang="ru-RU" sz="1400" dirty="0"/>
              <a:t>учащихся ВСГО в августе </a:t>
            </a:r>
            <a:r>
              <a:rPr lang="ru-RU" sz="1400" dirty="0" smtClean="0"/>
              <a:t> 2018 года прошли </a:t>
            </a:r>
            <a:r>
              <a:rPr lang="ru-RU" sz="1400" dirty="0"/>
              <a:t>подготовку по образовательной программе </a:t>
            </a:r>
            <a:r>
              <a:rPr lang="ru-RU" sz="1400" dirty="0" smtClean="0"/>
              <a:t> в </a:t>
            </a:r>
            <a:r>
              <a:rPr lang="ru-RU" sz="1400" dirty="0"/>
              <a:t>рамках смены «Промышленные вызовы Урала» по темам Корпорации и города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5" cstate="print"/>
          <a:srcRect l="14861" t="24406" r="9599" b="16532"/>
          <a:stretch>
            <a:fillRect/>
          </a:stretch>
        </p:blipFill>
        <p:spPr bwMode="auto">
          <a:xfrm>
            <a:off x="179512" y="4580909"/>
            <a:ext cx="5180112" cy="22770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Заголовок 1"/>
          <p:cNvSpPr txBox="1">
            <a:spLocks/>
          </p:cNvSpPr>
          <p:nvPr/>
        </p:nvSpPr>
        <p:spPr>
          <a:xfrm>
            <a:off x="39960" y="644730"/>
            <a:ext cx="9104040" cy="552022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ма 1: «Получение порошков из вторичных отходов титана для 3</a:t>
            </a:r>
            <a:r>
              <a:rPr lang="en-US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нтеров с дальнейшим использованием в производстве авиационных двигателей»</a:t>
            </a: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 bwMode="auto">
          <a:xfrm>
            <a:off x="0" y="3717032"/>
            <a:ext cx="9168875" cy="504056"/>
          </a:xfrm>
          <a:prstGeom prst="rect">
            <a:avLst/>
          </a:prstGeom>
          <a:solidFill>
            <a:srgbClr val="FFCC66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600" b="1" i="1">
                <a:latin typeface="Microsoft YaHei Light" panose="020B0502040204020203" pitchFamily="34" charset="-122"/>
                <a:ea typeface="Microsoft YaHei Light" panose="020B0502040204020203" pitchFamily="34" charset="-122"/>
              </a:defRPr>
            </a:lvl1pPr>
          </a:lstStyle>
          <a:p>
            <a:pPr algn="just"/>
            <a:r>
              <a:rPr lang="ru-RU" sz="1400" dirty="0"/>
              <a:t>В  </a:t>
            </a:r>
            <a:r>
              <a:rPr lang="ru-RU" sz="1400" dirty="0" smtClean="0"/>
              <a:t>2021 </a:t>
            </a:r>
            <a:r>
              <a:rPr lang="ru-RU" sz="1400" dirty="0"/>
              <a:t>году </a:t>
            </a:r>
            <a:r>
              <a:rPr lang="ru-RU" sz="1400" dirty="0" smtClean="0"/>
              <a:t>Корпорация выступила в качестве партнера по проектным задачам для  образовательного центра Сириус</a:t>
            </a:r>
            <a:endParaRPr lang="ru-RU" sz="1400" dirty="0"/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0" y="4221088"/>
            <a:ext cx="9148895" cy="347662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ма 2: «Комплексное развитие территории Верхнесалдинского городского округа»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178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26"/>
          <p:cNvSpPr>
            <a:spLocks noChangeArrowheads="1"/>
          </p:cNvSpPr>
          <p:nvPr/>
        </p:nvSpPr>
        <p:spPr bwMode="auto">
          <a:xfrm>
            <a:off x="0" y="5733256"/>
            <a:ext cx="1780455" cy="93610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FF0000"/>
                </a:solidFill>
                <a:latin typeface="Arial Black" pitchFamily="34" charset="0"/>
              </a:rPr>
              <a:t>Не поступили</a:t>
            </a:r>
          </a:p>
          <a:p>
            <a:pPr algn="ctr">
              <a:defRPr/>
            </a:pPr>
            <a:r>
              <a:rPr lang="ru-RU" b="1" dirty="0" smtClean="0">
                <a:solidFill>
                  <a:srgbClr val="FF0000"/>
                </a:solidFill>
                <a:latin typeface="Arial Black" pitchFamily="34" charset="0"/>
              </a:rPr>
              <a:t>53</a:t>
            </a:r>
            <a:r>
              <a:rPr lang="en-US" b="1" dirty="0" smtClean="0">
                <a:solidFill>
                  <a:srgbClr val="FF0000"/>
                </a:solidFill>
                <a:latin typeface="Arial Black" pitchFamily="34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Arial Black" pitchFamily="34" charset="0"/>
              </a:rPr>
              <a:t>чел.</a:t>
            </a:r>
            <a:endParaRPr lang="ru-RU" b="1" dirty="0">
              <a:solidFill>
                <a:srgbClr val="FF0000"/>
              </a:solidFill>
              <a:latin typeface="Arial Black" pitchFamily="34" charset="0"/>
            </a:endParaRPr>
          </a:p>
        </p:txBody>
      </p:sp>
      <p:sp>
        <p:nvSpPr>
          <p:cNvPr id="50" name="Стрелка вниз 49"/>
          <p:cNvSpPr/>
          <p:nvPr/>
        </p:nvSpPr>
        <p:spPr bwMode="auto">
          <a:xfrm>
            <a:off x="971600" y="5157192"/>
            <a:ext cx="725370" cy="785818"/>
          </a:xfrm>
          <a:prstGeom prst="downArrow">
            <a:avLst>
              <a:gd name="adj1" fmla="val 67648"/>
              <a:gd name="adj2" fmla="val 50000"/>
            </a:avLst>
          </a:prstGeom>
          <a:solidFill>
            <a:srgbClr val="C00000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Arial Black" pitchFamily="34" charset="0"/>
              </a:rPr>
              <a:t>25%</a:t>
            </a:r>
            <a:endParaRPr lang="ru-RU" sz="14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43" name="Стрелка вправо 42"/>
          <p:cNvSpPr/>
          <p:nvPr/>
        </p:nvSpPr>
        <p:spPr bwMode="auto">
          <a:xfrm rot="2870462">
            <a:off x="3873374" y="5450382"/>
            <a:ext cx="1258621" cy="616164"/>
          </a:xfrm>
          <a:prstGeom prst="rightArrow">
            <a:avLst>
              <a:gd name="adj1" fmla="val 65313"/>
              <a:gd name="adj2" fmla="val 50000"/>
            </a:avLst>
          </a:prstGeom>
          <a:solidFill>
            <a:srgbClr val="00206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        88%</a:t>
            </a:r>
          </a:p>
        </p:txBody>
      </p:sp>
      <p:sp>
        <p:nvSpPr>
          <p:cNvPr id="39" name="Rectangle 26"/>
          <p:cNvSpPr>
            <a:spLocks noChangeArrowheads="1"/>
          </p:cNvSpPr>
          <p:nvPr/>
        </p:nvSpPr>
        <p:spPr bwMode="auto">
          <a:xfrm>
            <a:off x="1907704" y="5733256"/>
            <a:ext cx="1780455" cy="93610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0099"/>
                </a:solidFill>
                <a:latin typeface="Arial Black" pitchFamily="34" charset="0"/>
              </a:rPr>
              <a:t>ВПО</a:t>
            </a:r>
          </a:p>
          <a:p>
            <a:pPr algn="ctr">
              <a:defRPr/>
            </a:pPr>
            <a:r>
              <a:rPr lang="ru-RU" sz="1100" b="1" dirty="0" err="1" smtClean="0">
                <a:solidFill>
                  <a:srgbClr val="000099"/>
                </a:solidFill>
                <a:latin typeface="Arial Black" pitchFamily="34" charset="0"/>
              </a:rPr>
              <a:t>НЕтехнической</a:t>
            </a:r>
            <a:endParaRPr lang="ru-RU" sz="1100" b="1" dirty="0">
              <a:solidFill>
                <a:srgbClr val="000099"/>
              </a:solidFill>
              <a:latin typeface="Arial Black" pitchFamily="34" charset="0"/>
            </a:endParaRPr>
          </a:p>
          <a:p>
            <a:pPr algn="ctr">
              <a:defRPr/>
            </a:pPr>
            <a:r>
              <a:rPr lang="ru-RU" sz="1050" b="1" dirty="0" smtClean="0">
                <a:solidFill>
                  <a:srgbClr val="000099"/>
                </a:solidFill>
                <a:latin typeface="Arial Black" pitchFamily="34" charset="0"/>
              </a:rPr>
              <a:t>направленности</a:t>
            </a:r>
          </a:p>
          <a:p>
            <a:pPr algn="ctr">
              <a:defRPr/>
            </a:pPr>
            <a:r>
              <a:rPr lang="ru-RU" b="1" dirty="0" smtClean="0">
                <a:solidFill>
                  <a:srgbClr val="FF0000"/>
                </a:solidFill>
                <a:latin typeface="Arial Black" pitchFamily="34" charset="0"/>
              </a:rPr>
              <a:t>105 чел.</a:t>
            </a:r>
            <a:endParaRPr lang="ru-RU" b="1" dirty="0">
              <a:solidFill>
                <a:srgbClr val="FF0000"/>
              </a:solidFill>
              <a:latin typeface="Arial Black" pitchFamily="34" charset="0"/>
            </a:endParaRPr>
          </a:p>
        </p:txBody>
      </p:sp>
      <p:sp>
        <p:nvSpPr>
          <p:cNvPr id="113665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692696"/>
          </a:xfrm>
          <a:solidFill>
            <a:schemeClr val="accent3"/>
          </a:solidFill>
        </p:spPr>
        <p:txBody>
          <a:bodyPr anchor="ctr">
            <a:noAutofit/>
          </a:bodyPr>
          <a:lstStyle/>
          <a:p>
            <a:r>
              <a:rPr lang="ru-RU" sz="1400" b="1" i="1" dirty="0" smtClean="0">
                <a:solidFill>
                  <a:schemeClr val="bg1"/>
                </a:solidFill>
                <a:latin typeface="Arial Black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ПРЕДЕЛЕНИЕ ВЫПУСКНИКОВ ШКОЛ ПО УРОВНЯМ ОБРАЗОВАНИЯ И ИХ ПОСЛЕДУЮЩЕЕ ТРУДОУСТРОЙСТВО К КРУПНЫМ РАБОТОДАТЕЛЯМ.</a:t>
            </a:r>
          </a:p>
        </p:txBody>
      </p:sp>
      <p:pic>
        <p:nvPicPr>
          <p:cNvPr id="113666" name="Picture 13" descr="училище"/>
          <p:cNvPicPr>
            <a:picLocks noChangeAspect="1" noChangeArrowheads="1"/>
          </p:cNvPicPr>
          <p:nvPr/>
        </p:nvPicPr>
        <p:blipFill>
          <a:blip r:embed="rId3" cstate="print"/>
          <a:srcRect l="12903" r="19354" b="36363"/>
          <a:stretch>
            <a:fillRect/>
          </a:stretch>
        </p:blipFill>
        <p:spPr bwMode="auto">
          <a:xfrm>
            <a:off x="1010835" y="825882"/>
            <a:ext cx="1384788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Line 5"/>
          <p:cNvSpPr>
            <a:spLocks noChangeShapeType="1"/>
          </p:cNvSpPr>
          <p:nvPr/>
        </p:nvSpPr>
        <p:spPr bwMode="auto">
          <a:xfrm>
            <a:off x="6156176" y="1631092"/>
            <a:ext cx="0" cy="0"/>
          </a:xfrm>
          <a:prstGeom prst="line">
            <a:avLst/>
          </a:prstGeom>
          <a:noFill/>
          <a:ln w="12700" cap="rnd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3668" name="Line 6"/>
          <p:cNvSpPr>
            <a:spLocks noChangeShapeType="1"/>
          </p:cNvSpPr>
          <p:nvPr/>
        </p:nvSpPr>
        <p:spPr bwMode="auto">
          <a:xfrm>
            <a:off x="5321996" y="1740629"/>
            <a:ext cx="0" cy="0"/>
          </a:xfrm>
          <a:prstGeom prst="line">
            <a:avLst/>
          </a:prstGeom>
          <a:noFill/>
          <a:ln w="12700" cap="rnd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3669" name="Line 7"/>
          <p:cNvSpPr>
            <a:spLocks noChangeShapeType="1"/>
          </p:cNvSpPr>
          <p:nvPr/>
        </p:nvSpPr>
        <p:spPr bwMode="auto">
          <a:xfrm>
            <a:off x="3973843" y="1519967"/>
            <a:ext cx="0" cy="0"/>
          </a:xfrm>
          <a:prstGeom prst="line">
            <a:avLst/>
          </a:prstGeom>
          <a:noFill/>
          <a:ln w="12700" cap="rnd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2" name="Группа 28"/>
          <p:cNvGrpSpPr>
            <a:grpSpLocks/>
          </p:cNvGrpSpPr>
          <p:nvPr/>
        </p:nvGrpSpPr>
        <p:grpSpPr bwMode="auto">
          <a:xfrm>
            <a:off x="6482142" y="3571876"/>
            <a:ext cx="1978290" cy="1928826"/>
            <a:chOff x="5453066" y="1571612"/>
            <a:chExt cx="3643338" cy="4357718"/>
          </a:xfrm>
        </p:grpSpPr>
        <p:pic>
          <p:nvPicPr>
            <p:cNvPr id="36" name="Picture 2" descr="pano1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453066" y="1571612"/>
              <a:ext cx="3643338" cy="435771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13731" name="Rectangle 14"/>
            <p:cNvSpPr>
              <a:spLocks noChangeArrowheads="1"/>
            </p:cNvSpPr>
            <p:nvPr/>
          </p:nvSpPr>
          <p:spPr bwMode="auto">
            <a:xfrm>
              <a:off x="5524504" y="1643050"/>
              <a:ext cx="3439286" cy="571416"/>
            </a:xfrm>
            <a:prstGeom prst="rect">
              <a:avLst/>
            </a:prstGeom>
            <a:gradFill rotWithShape="1">
              <a:gsLst>
                <a:gs pos="0">
                  <a:srgbClr val="557E98"/>
                </a:gs>
                <a:gs pos="50000">
                  <a:srgbClr val="7DB7DB"/>
                </a:gs>
                <a:gs pos="100000">
                  <a:srgbClr val="96DAFF"/>
                </a:gs>
              </a:gsLst>
              <a:lin ang="81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sz="1600" b="1" dirty="0">
                  <a:solidFill>
                    <a:srgbClr val="000099"/>
                  </a:solidFill>
                  <a:latin typeface="Arial Black" pitchFamily="34" charset="0"/>
                </a:rPr>
                <a:t>ВСМПО</a:t>
              </a:r>
            </a:p>
          </p:txBody>
        </p:sp>
      </p:grpSp>
      <p:sp>
        <p:nvSpPr>
          <p:cNvPr id="113671" name="Rectangle 20"/>
          <p:cNvSpPr>
            <a:spLocks noChangeArrowheads="1"/>
          </p:cNvSpPr>
          <p:nvPr/>
        </p:nvSpPr>
        <p:spPr bwMode="auto">
          <a:xfrm>
            <a:off x="1187624" y="1617871"/>
            <a:ext cx="996462" cy="288925"/>
          </a:xfrm>
          <a:prstGeom prst="rect">
            <a:avLst/>
          </a:prstGeom>
          <a:gradFill rotWithShape="1">
            <a:gsLst>
              <a:gs pos="0">
                <a:srgbClr val="FF9900"/>
              </a:gs>
              <a:gs pos="50000">
                <a:srgbClr val="FFFF00"/>
              </a:gs>
              <a:gs pos="100000">
                <a:srgbClr val="FF9900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ru-RU" dirty="0"/>
              <a:t>Школы</a:t>
            </a:r>
          </a:p>
        </p:txBody>
      </p:sp>
      <p:sp>
        <p:nvSpPr>
          <p:cNvPr id="114703" name="Rectangle 21"/>
          <p:cNvSpPr>
            <a:spLocks noChangeArrowheads="1"/>
          </p:cNvSpPr>
          <p:nvPr/>
        </p:nvSpPr>
        <p:spPr bwMode="auto">
          <a:xfrm>
            <a:off x="1043608" y="4437112"/>
            <a:ext cx="1318855" cy="72072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rgbClr val="FF0000"/>
                </a:solidFill>
              </a:rPr>
              <a:t>11 класс</a:t>
            </a:r>
          </a:p>
          <a:p>
            <a:pPr algn="ctr">
              <a:defRPr/>
            </a:pPr>
            <a:r>
              <a:rPr lang="ru-RU" b="1" dirty="0" smtClean="0">
                <a:solidFill>
                  <a:srgbClr val="000099"/>
                </a:solidFill>
                <a:latin typeface="Arial Black" pitchFamily="34" charset="0"/>
              </a:rPr>
              <a:t>210 </a:t>
            </a:r>
            <a:r>
              <a:rPr lang="ru-RU" b="1" dirty="0">
                <a:solidFill>
                  <a:srgbClr val="000099"/>
                </a:solidFill>
              </a:rPr>
              <a:t>чел.</a:t>
            </a:r>
          </a:p>
        </p:txBody>
      </p:sp>
      <p:sp>
        <p:nvSpPr>
          <p:cNvPr id="114707" name="AutoShape 27"/>
          <p:cNvSpPr>
            <a:spLocks noChangeArrowheads="1"/>
          </p:cNvSpPr>
          <p:nvPr/>
        </p:nvSpPr>
        <p:spPr bwMode="auto">
          <a:xfrm>
            <a:off x="5370928" y="3501951"/>
            <a:ext cx="857256" cy="719137"/>
          </a:xfrm>
          <a:prstGeom prst="rightArrow">
            <a:avLst>
              <a:gd name="adj1" fmla="val 64237"/>
              <a:gd name="adj2" fmla="val 31350"/>
            </a:avLst>
          </a:prstGeom>
          <a:solidFill>
            <a:srgbClr val="002060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  <a:latin typeface="Arial Black" pitchFamily="34" charset="0"/>
              </a:rPr>
              <a:t>80%</a:t>
            </a:r>
          </a:p>
        </p:txBody>
      </p:sp>
      <p:sp>
        <p:nvSpPr>
          <p:cNvPr id="23" name="Стрелка вниз 22"/>
          <p:cNvSpPr/>
          <p:nvPr/>
        </p:nvSpPr>
        <p:spPr bwMode="auto">
          <a:xfrm>
            <a:off x="899592" y="2708920"/>
            <a:ext cx="780084" cy="1512168"/>
          </a:xfrm>
          <a:prstGeom prst="downArrow">
            <a:avLst>
              <a:gd name="adj1" fmla="val 70686"/>
              <a:gd name="adj2" fmla="val 50000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endParaRPr lang="ru-RU" sz="1200" b="1" dirty="0" smtClean="0">
              <a:solidFill>
                <a:srgbClr val="C00000"/>
              </a:solidFill>
              <a:latin typeface="Arial Black" pitchFamily="34" charset="0"/>
            </a:endParaRPr>
          </a:p>
          <a:p>
            <a:pPr algn="ctr">
              <a:defRPr/>
            </a:pPr>
            <a:endParaRPr lang="ru-RU" sz="1200" b="1" dirty="0" smtClean="0">
              <a:solidFill>
                <a:srgbClr val="C00000"/>
              </a:solidFill>
              <a:latin typeface="Arial Black" pitchFamily="34" charset="0"/>
            </a:endParaRPr>
          </a:p>
          <a:p>
            <a:pPr algn="ctr">
              <a:defRPr/>
            </a:pPr>
            <a:endParaRPr lang="ru-RU" sz="1200" b="1" dirty="0" smtClean="0">
              <a:solidFill>
                <a:srgbClr val="C00000"/>
              </a:solidFill>
              <a:latin typeface="Arial Black" pitchFamily="34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rgbClr val="C00000"/>
                </a:solidFill>
                <a:latin typeface="Arial Black" pitchFamily="34" charset="0"/>
              </a:rPr>
              <a:t>49</a:t>
            </a:r>
            <a:r>
              <a:rPr lang="ru-RU" b="1" dirty="0" smtClean="0">
                <a:solidFill>
                  <a:srgbClr val="C00000"/>
                </a:solidFill>
                <a:latin typeface="Arial Black" pitchFamily="34" charset="0"/>
              </a:rPr>
              <a:t>%</a:t>
            </a:r>
          </a:p>
          <a:p>
            <a:pPr algn="ctr">
              <a:defRPr/>
            </a:pPr>
            <a:endParaRPr lang="ru-RU" sz="1600" b="1" dirty="0" smtClean="0">
              <a:solidFill>
                <a:srgbClr val="C00000"/>
              </a:solidFill>
              <a:latin typeface="Arial Black" pitchFamily="34" charset="0"/>
            </a:endParaRPr>
          </a:p>
        </p:txBody>
      </p:sp>
      <p:sp>
        <p:nvSpPr>
          <p:cNvPr id="24" name="Стрелка вправо 23"/>
          <p:cNvSpPr/>
          <p:nvPr/>
        </p:nvSpPr>
        <p:spPr bwMode="auto">
          <a:xfrm>
            <a:off x="2495250" y="1906002"/>
            <a:ext cx="857256" cy="785818"/>
          </a:xfrm>
          <a:prstGeom prst="rightArrow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b="1" dirty="0" smtClean="0">
                <a:solidFill>
                  <a:srgbClr val="C00000"/>
                </a:solidFill>
                <a:latin typeface="Arial Black" pitchFamily="34" charset="0"/>
              </a:rPr>
              <a:t>30%</a:t>
            </a:r>
            <a:endParaRPr lang="ru-RU" b="1" dirty="0">
              <a:solidFill>
                <a:srgbClr val="C00000"/>
              </a:solidFill>
              <a:latin typeface="Arial Black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 bwMode="auto">
          <a:xfrm>
            <a:off x="3484391" y="1416766"/>
            <a:ext cx="1648569" cy="2732314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ru-RU" b="1" dirty="0"/>
          </a:p>
          <a:p>
            <a:pPr algn="ctr">
              <a:defRPr/>
            </a:pPr>
            <a:endParaRPr lang="ru-RU" b="1" dirty="0"/>
          </a:p>
          <a:p>
            <a:pPr algn="ctr">
              <a:defRPr/>
            </a:pPr>
            <a:endParaRPr lang="ru-RU" b="1" dirty="0"/>
          </a:p>
          <a:p>
            <a:pPr algn="ctr">
              <a:defRPr/>
            </a:pPr>
            <a:endParaRPr lang="ru-RU" b="1" dirty="0"/>
          </a:p>
          <a:p>
            <a:pPr algn="ctr">
              <a:defRPr/>
            </a:pPr>
            <a:endParaRPr lang="ru-RU" b="1" dirty="0"/>
          </a:p>
        </p:txBody>
      </p:sp>
      <p:sp>
        <p:nvSpPr>
          <p:cNvPr id="26" name="Скругленный прямоугольник 25"/>
          <p:cNvSpPr/>
          <p:nvPr/>
        </p:nvSpPr>
        <p:spPr bwMode="auto">
          <a:xfrm>
            <a:off x="3550334" y="1631080"/>
            <a:ext cx="1516684" cy="928694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400" b="1" dirty="0">
                <a:solidFill>
                  <a:srgbClr val="C00000"/>
                </a:solidFill>
                <a:latin typeface="Arial Black" pitchFamily="34" charset="0"/>
              </a:rPr>
              <a:t>КОНТИНГЕНТ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rgbClr val="C00000"/>
                </a:solidFill>
                <a:latin typeface="Arial Black" pitchFamily="34" charset="0"/>
              </a:rPr>
              <a:t>30%</a:t>
            </a:r>
            <a:endParaRPr lang="ru-RU" sz="1400" b="1" dirty="0">
              <a:solidFill>
                <a:srgbClr val="C00000"/>
              </a:solidFill>
              <a:latin typeface="Arial Black" pitchFamily="34" charset="0"/>
            </a:endParaRPr>
          </a:p>
          <a:p>
            <a:pPr algn="ctr">
              <a:defRPr/>
            </a:pPr>
            <a:r>
              <a:rPr lang="ru-RU" sz="1400" b="1" dirty="0">
                <a:solidFill>
                  <a:srgbClr val="C00000"/>
                </a:solidFill>
                <a:latin typeface="Arial Black" pitchFamily="34" charset="0"/>
              </a:rPr>
              <a:t>от МАХ </a:t>
            </a:r>
            <a:r>
              <a:rPr lang="ru-RU" b="1" dirty="0">
                <a:solidFill>
                  <a:srgbClr val="C00000"/>
                </a:solidFill>
                <a:latin typeface="Arial Black" pitchFamily="34" charset="0"/>
              </a:rPr>
              <a:t>!</a:t>
            </a:r>
            <a:endParaRPr lang="ru-RU" sz="1400" b="1" dirty="0">
              <a:solidFill>
                <a:srgbClr val="C00000"/>
              </a:solidFill>
              <a:latin typeface="Arial Black" pitchFamily="34" charset="0"/>
            </a:endParaRPr>
          </a:p>
        </p:txBody>
      </p:sp>
      <p:sp>
        <p:nvSpPr>
          <p:cNvPr id="27" name="Стрелка вправо 26"/>
          <p:cNvSpPr/>
          <p:nvPr/>
        </p:nvSpPr>
        <p:spPr bwMode="auto">
          <a:xfrm>
            <a:off x="2483768" y="4437112"/>
            <a:ext cx="857256" cy="785818"/>
          </a:xfrm>
          <a:prstGeom prst="rightArrow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latin typeface="Arial Black" pitchFamily="34" charset="0"/>
              </a:rPr>
              <a:t>25%</a:t>
            </a:r>
            <a:endParaRPr lang="ru-RU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 bwMode="auto">
          <a:xfrm>
            <a:off x="3563888" y="3140968"/>
            <a:ext cx="1437187" cy="85725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000099"/>
                </a:solidFill>
                <a:latin typeface="Arial Black" pitchFamily="34" charset="0"/>
              </a:rPr>
              <a:t>  </a:t>
            </a:r>
            <a:r>
              <a:rPr lang="en-US" sz="1200" b="1" dirty="0" smtClean="0">
                <a:solidFill>
                  <a:srgbClr val="000099"/>
                </a:solidFill>
                <a:latin typeface="Arial Black" pitchFamily="34" charset="0"/>
              </a:rPr>
              <a:t>I </a:t>
            </a:r>
            <a:r>
              <a:rPr lang="ru-RU" sz="1200" b="1" dirty="0" smtClean="0">
                <a:solidFill>
                  <a:srgbClr val="000099"/>
                </a:solidFill>
                <a:latin typeface="Arial Black" pitchFamily="34" charset="0"/>
              </a:rPr>
              <a:t>курс/ВЫПУСК </a:t>
            </a:r>
            <a:r>
              <a:rPr lang="en-US" sz="1200" b="1" dirty="0" smtClean="0">
                <a:solidFill>
                  <a:srgbClr val="000099"/>
                </a:solidFill>
                <a:latin typeface="Arial Black" pitchFamily="34" charset="0"/>
              </a:rPr>
              <a:t> </a:t>
            </a:r>
            <a:endParaRPr lang="ru-RU" sz="1200" b="1" dirty="0" smtClean="0">
              <a:solidFill>
                <a:srgbClr val="000099"/>
              </a:solidFill>
              <a:latin typeface="Arial Black" pitchFamily="34" charset="0"/>
            </a:endParaRPr>
          </a:p>
          <a:p>
            <a:pPr algn="ctr">
              <a:defRPr/>
            </a:pPr>
            <a:r>
              <a:rPr lang="ru-RU" sz="1600" b="1" dirty="0" smtClean="0">
                <a:solidFill>
                  <a:srgbClr val="000099"/>
                </a:solidFill>
                <a:latin typeface="Arial Black" pitchFamily="34" charset="0"/>
              </a:rPr>
              <a:t>140 </a:t>
            </a:r>
            <a:r>
              <a:rPr lang="ru-RU" sz="1200" b="1" dirty="0" smtClean="0">
                <a:solidFill>
                  <a:srgbClr val="000099"/>
                </a:solidFill>
                <a:latin typeface="Arial Black" pitchFamily="34" charset="0"/>
              </a:rPr>
              <a:t>чел</a:t>
            </a:r>
            <a:r>
              <a:rPr lang="ru-RU" sz="1600" b="1" dirty="0" smtClean="0">
                <a:solidFill>
                  <a:srgbClr val="000099"/>
                </a:solidFill>
                <a:latin typeface="Arial Black" pitchFamily="34" charset="0"/>
              </a:rPr>
              <a:t>.</a:t>
            </a:r>
            <a:r>
              <a:rPr lang="en-US" b="1" dirty="0" smtClean="0">
                <a:solidFill>
                  <a:srgbClr val="000099"/>
                </a:solidFill>
                <a:latin typeface="Arial Black" pitchFamily="34" charset="0"/>
              </a:rPr>
              <a:t> </a:t>
            </a:r>
            <a:endParaRPr lang="ru-RU" b="1" dirty="0" smtClean="0">
              <a:solidFill>
                <a:srgbClr val="000099"/>
              </a:solidFill>
              <a:latin typeface="Arial Black" pitchFamily="34" charset="0"/>
            </a:endParaRPr>
          </a:p>
          <a:p>
            <a:pPr algn="ctr">
              <a:defRPr/>
            </a:pPr>
            <a:r>
              <a:rPr lang="ru-RU" sz="1200" b="1" dirty="0" smtClean="0">
                <a:solidFill>
                  <a:srgbClr val="000099"/>
                </a:solidFill>
                <a:latin typeface="Arial Black" pitchFamily="34" charset="0"/>
              </a:rPr>
              <a:t>(В.Салда)</a:t>
            </a:r>
            <a:endParaRPr lang="ru-RU" sz="1200" b="1" dirty="0">
              <a:solidFill>
                <a:srgbClr val="000099"/>
              </a:solidFill>
              <a:latin typeface="Arial Black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 bwMode="auto">
          <a:xfrm>
            <a:off x="6444208" y="836712"/>
            <a:ext cx="1944216" cy="500636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200" b="1" dirty="0">
                <a:solidFill>
                  <a:srgbClr val="000099"/>
                </a:solidFill>
                <a:latin typeface="Arial Black" pitchFamily="34" charset="0"/>
              </a:rPr>
              <a:t>ТРУДОУСТРОЙСТВО</a:t>
            </a:r>
            <a:endParaRPr lang="ru-RU" b="1" dirty="0">
              <a:solidFill>
                <a:srgbClr val="000099"/>
              </a:solidFill>
              <a:latin typeface="Arial Black" pitchFamily="34" charset="0"/>
            </a:endParaRPr>
          </a:p>
        </p:txBody>
      </p:sp>
      <p:sp>
        <p:nvSpPr>
          <p:cNvPr id="114706" name="Rectangle 26"/>
          <p:cNvSpPr>
            <a:spLocks noChangeArrowheads="1"/>
          </p:cNvSpPr>
          <p:nvPr/>
        </p:nvSpPr>
        <p:spPr bwMode="auto">
          <a:xfrm>
            <a:off x="3550334" y="845263"/>
            <a:ext cx="1450741" cy="500067"/>
          </a:xfrm>
          <a:prstGeom prst="rect">
            <a:avLst/>
          </a:prstGeom>
          <a:solidFill>
            <a:srgbClr val="FF6600"/>
          </a:solidFill>
          <a:ln>
            <a:solidFill>
              <a:schemeClr val="bg1"/>
            </a:solidFill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latin typeface="Arial Black" pitchFamily="34" charset="0"/>
              </a:rPr>
              <a:t>ВСАМК</a:t>
            </a:r>
            <a:endParaRPr lang="ru-RU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pic>
        <p:nvPicPr>
          <p:cNvPr id="121857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25105" y="1785927"/>
            <a:ext cx="1582626" cy="1287663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5" name="Прямоугольник 34"/>
          <p:cNvSpPr/>
          <p:nvPr/>
        </p:nvSpPr>
        <p:spPr bwMode="auto">
          <a:xfrm>
            <a:off x="7309079" y="2428868"/>
            <a:ext cx="791313" cy="285752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200" b="1" dirty="0">
                <a:solidFill>
                  <a:srgbClr val="000099"/>
                </a:solidFill>
                <a:latin typeface="Arial Black" pitchFamily="34" charset="0"/>
              </a:rPr>
              <a:t>ДОЛИНА</a:t>
            </a:r>
          </a:p>
        </p:txBody>
      </p:sp>
      <p:sp>
        <p:nvSpPr>
          <p:cNvPr id="37" name="AutoShape 27"/>
          <p:cNvSpPr>
            <a:spLocks noChangeArrowheads="1"/>
          </p:cNvSpPr>
          <p:nvPr/>
        </p:nvSpPr>
        <p:spPr bwMode="auto">
          <a:xfrm>
            <a:off x="5370928" y="1631081"/>
            <a:ext cx="857256" cy="719137"/>
          </a:xfrm>
          <a:prstGeom prst="rightArrow">
            <a:avLst>
              <a:gd name="adj1" fmla="val 64237"/>
              <a:gd name="adj2" fmla="val 31350"/>
            </a:avLst>
          </a:prstGeom>
          <a:solidFill>
            <a:srgbClr val="002060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  <a:latin typeface="Arial Black" pitchFamily="34" charset="0"/>
              </a:rPr>
              <a:t>20%</a:t>
            </a:r>
          </a:p>
        </p:txBody>
      </p:sp>
      <p:sp>
        <p:nvSpPr>
          <p:cNvPr id="113712" name="Прямоугольник 39"/>
          <p:cNvSpPr>
            <a:spLocks noChangeArrowheads="1"/>
          </p:cNvSpPr>
          <p:nvPr/>
        </p:nvSpPr>
        <p:spPr bwMode="auto">
          <a:xfrm>
            <a:off x="6614028" y="5000636"/>
            <a:ext cx="1714512" cy="42862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Arial Black" pitchFamily="34" charset="0"/>
              </a:rPr>
              <a:t>112 </a:t>
            </a:r>
            <a:r>
              <a:rPr lang="ru-RU" sz="1200" b="1" dirty="0">
                <a:solidFill>
                  <a:srgbClr val="FF0000"/>
                </a:solidFill>
                <a:latin typeface="Arial Black" pitchFamily="34" charset="0"/>
              </a:rPr>
              <a:t>чел</a:t>
            </a:r>
            <a:r>
              <a:rPr lang="ru-RU" sz="1200" b="1" dirty="0" smtClean="0">
                <a:solidFill>
                  <a:srgbClr val="FF0000"/>
                </a:solidFill>
                <a:latin typeface="Arial Black" pitchFamily="34" charset="0"/>
              </a:rPr>
              <a:t>./год  СПО</a:t>
            </a:r>
          </a:p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Arial Black" pitchFamily="34" charset="0"/>
              </a:rPr>
              <a:t>12 чел/год ВПО</a:t>
            </a:r>
            <a:endParaRPr lang="ru-RU" sz="1200" b="1" dirty="0">
              <a:solidFill>
                <a:srgbClr val="FF0000"/>
              </a:solidFill>
              <a:latin typeface="Arial Black" pitchFamily="34" charset="0"/>
            </a:endParaRPr>
          </a:p>
        </p:txBody>
      </p:sp>
      <p:sp>
        <p:nvSpPr>
          <p:cNvPr id="113713" name="Прямоугольник 40"/>
          <p:cNvSpPr>
            <a:spLocks noChangeArrowheads="1"/>
          </p:cNvSpPr>
          <p:nvPr/>
        </p:nvSpPr>
        <p:spPr bwMode="auto">
          <a:xfrm>
            <a:off x="6691048" y="1857364"/>
            <a:ext cx="1450741" cy="3571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Arial Black" pitchFamily="34" charset="0"/>
              </a:rPr>
              <a:t>42 </a:t>
            </a:r>
            <a:r>
              <a:rPr lang="ru-RU" sz="1200" b="1" dirty="0">
                <a:solidFill>
                  <a:srgbClr val="FF0000"/>
                </a:solidFill>
                <a:latin typeface="Arial Black" pitchFamily="34" charset="0"/>
              </a:rPr>
              <a:t>чел</a:t>
            </a:r>
            <a:r>
              <a:rPr lang="ru-RU" sz="1200" b="1" dirty="0" smtClean="0">
                <a:solidFill>
                  <a:srgbClr val="FF0000"/>
                </a:solidFill>
                <a:latin typeface="Arial Black" pitchFamily="34" charset="0"/>
              </a:rPr>
              <a:t>./ год СПО</a:t>
            </a:r>
            <a:endParaRPr lang="ru-RU" sz="1200" b="1" dirty="0">
              <a:solidFill>
                <a:srgbClr val="FF0000"/>
              </a:solidFill>
              <a:latin typeface="Arial Black" pitchFamily="34" charset="0"/>
            </a:endParaRPr>
          </a:p>
        </p:txBody>
      </p:sp>
      <p:sp>
        <p:nvSpPr>
          <p:cNvPr id="42" name="Rectangle 26"/>
          <p:cNvSpPr>
            <a:spLocks noChangeArrowheads="1"/>
          </p:cNvSpPr>
          <p:nvPr/>
        </p:nvSpPr>
        <p:spPr bwMode="auto">
          <a:xfrm>
            <a:off x="3491880" y="4365104"/>
            <a:ext cx="1780455" cy="1143009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t" anchorCtr="0"/>
          <a:lstStyle/>
          <a:p>
            <a:pPr algn="ctr">
              <a:defRPr/>
            </a:pPr>
            <a:r>
              <a:rPr lang="ru-RU" sz="1600" b="1" dirty="0">
                <a:solidFill>
                  <a:srgbClr val="000099"/>
                </a:solidFill>
                <a:latin typeface="Arial Black" pitchFamily="34" charset="0"/>
              </a:rPr>
              <a:t>ВПО</a:t>
            </a:r>
          </a:p>
          <a:p>
            <a:pPr algn="ctr">
              <a:defRPr/>
            </a:pPr>
            <a:r>
              <a:rPr lang="ru-RU" sz="1400" b="1" dirty="0">
                <a:solidFill>
                  <a:srgbClr val="000099"/>
                </a:solidFill>
                <a:latin typeface="Arial Black" pitchFamily="34" charset="0"/>
              </a:rPr>
              <a:t>технической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000099"/>
                </a:solidFill>
                <a:latin typeface="Arial Black" pitchFamily="34" charset="0"/>
              </a:rPr>
              <a:t>направленности</a:t>
            </a:r>
          </a:p>
          <a:p>
            <a:pPr algn="ctr">
              <a:defRPr/>
            </a:pPr>
            <a:endParaRPr lang="ru-RU" sz="1200" b="1" dirty="0">
              <a:solidFill>
                <a:srgbClr val="000099"/>
              </a:solidFill>
              <a:latin typeface="Arial Black" pitchFamily="34" charset="0"/>
            </a:endParaRPr>
          </a:p>
        </p:txBody>
      </p:sp>
      <p:sp>
        <p:nvSpPr>
          <p:cNvPr id="44" name="Стрелка вниз 43"/>
          <p:cNvSpPr/>
          <p:nvPr/>
        </p:nvSpPr>
        <p:spPr bwMode="auto">
          <a:xfrm>
            <a:off x="1763688" y="5157192"/>
            <a:ext cx="725370" cy="785818"/>
          </a:xfrm>
          <a:prstGeom prst="downArrow">
            <a:avLst>
              <a:gd name="adj1" fmla="val 67648"/>
              <a:gd name="adj2" fmla="val 50000"/>
            </a:avLst>
          </a:prstGeom>
          <a:solidFill>
            <a:srgbClr val="002060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Arial Black" pitchFamily="34" charset="0"/>
              </a:rPr>
              <a:t>50%</a:t>
            </a:r>
            <a:endParaRPr lang="ru-RU" sz="14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113720" name="Прямоугольник 44"/>
          <p:cNvSpPr>
            <a:spLocks noChangeArrowheads="1"/>
          </p:cNvSpPr>
          <p:nvPr/>
        </p:nvSpPr>
        <p:spPr bwMode="auto">
          <a:xfrm>
            <a:off x="3491880" y="5085184"/>
            <a:ext cx="18002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Arial Black" pitchFamily="34" charset="0"/>
              </a:rPr>
              <a:t>102 чел.:(52+50)</a:t>
            </a:r>
            <a:endParaRPr lang="ru-RU" sz="1400" b="1" dirty="0">
              <a:solidFill>
                <a:srgbClr val="FF0000"/>
              </a:solidFill>
              <a:latin typeface="Arial Black" pitchFamily="34" charset="0"/>
            </a:endParaRPr>
          </a:p>
        </p:txBody>
      </p:sp>
      <p:sp>
        <p:nvSpPr>
          <p:cNvPr id="34" name="Стрелка вправо 33"/>
          <p:cNvSpPr/>
          <p:nvPr/>
        </p:nvSpPr>
        <p:spPr bwMode="auto">
          <a:xfrm rot="3105394">
            <a:off x="1642698" y="2661453"/>
            <a:ext cx="872337" cy="481811"/>
          </a:xfrm>
          <a:prstGeom prst="rightArrow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21%</a:t>
            </a:r>
          </a:p>
        </p:txBody>
      </p:sp>
      <p:sp>
        <p:nvSpPr>
          <p:cNvPr id="40" name="Стрелка вправо 39"/>
          <p:cNvSpPr/>
          <p:nvPr/>
        </p:nvSpPr>
        <p:spPr bwMode="auto">
          <a:xfrm>
            <a:off x="5370928" y="4515390"/>
            <a:ext cx="857256" cy="785818"/>
          </a:xfrm>
          <a:prstGeom prst="rightArrow">
            <a:avLst>
              <a:gd name="adj1" fmla="val 59697"/>
              <a:gd name="adj2" fmla="val 50000"/>
            </a:avLst>
          </a:prstGeom>
          <a:solidFill>
            <a:srgbClr val="002060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latin typeface="Arial Black" pitchFamily="34" charset="0"/>
              </a:rPr>
              <a:t>12%</a:t>
            </a:r>
            <a:endParaRPr lang="ru-RU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41" name="Прямоугольник с двумя скругленными противолежащими углами 40"/>
          <p:cNvSpPr/>
          <p:nvPr/>
        </p:nvSpPr>
        <p:spPr bwMode="auto">
          <a:xfrm>
            <a:off x="5004048" y="5805264"/>
            <a:ext cx="3528392" cy="936104"/>
          </a:xfrm>
          <a:prstGeom prst="round2DiagRect">
            <a:avLst/>
          </a:prstGeom>
          <a:solidFill>
            <a:schemeClr val="bg1"/>
          </a:solidFill>
          <a:ln>
            <a:solidFill>
              <a:srgbClr val="FF0000"/>
            </a:solidFill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r>
              <a:rPr lang="ru-RU" b="1" dirty="0" smtClean="0">
                <a:solidFill>
                  <a:srgbClr val="A50021"/>
                </a:solidFill>
              </a:rPr>
              <a:t>90 чел. !!!</a:t>
            </a:r>
          </a:p>
          <a:p>
            <a:pPr algn="ctr"/>
            <a:r>
              <a:rPr lang="ru-RU" sz="1400" b="1" dirty="0" smtClean="0">
                <a:solidFill>
                  <a:srgbClr val="A50021"/>
                </a:solidFill>
              </a:rPr>
              <a:t>с инженерным техническим образованием остаются в другом городе</a:t>
            </a:r>
          </a:p>
        </p:txBody>
      </p:sp>
      <p:sp>
        <p:nvSpPr>
          <p:cNvPr id="45" name="Скругленный прямоугольник 44"/>
          <p:cNvSpPr/>
          <p:nvPr/>
        </p:nvSpPr>
        <p:spPr bwMode="auto">
          <a:xfrm>
            <a:off x="6653611" y="2780928"/>
            <a:ext cx="1517736" cy="288032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400" b="1" dirty="0" smtClean="0">
                <a:solidFill>
                  <a:srgbClr val="000099"/>
                </a:solidFill>
                <a:latin typeface="Arial Black" pitchFamily="34" charset="0"/>
              </a:rPr>
              <a:t>6000 рабочих</a:t>
            </a:r>
            <a:endParaRPr lang="ru-RU" sz="1400" b="1" dirty="0">
              <a:solidFill>
                <a:srgbClr val="000099"/>
              </a:solidFill>
              <a:latin typeface="Arial Black" pitchFamily="34" charset="0"/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179512" y="4319885"/>
            <a:ext cx="6156176" cy="0"/>
          </a:xfrm>
          <a:prstGeom prst="line">
            <a:avLst/>
          </a:prstGeom>
          <a:ln w="222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трелка вправо 51"/>
          <p:cNvSpPr/>
          <p:nvPr/>
        </p:nvSpPr>
        <p:spPr bwMode="auto">
          <a:xfrm rot="2885796">
            <a:off x="2478825" y="3800120"/>
            <a:ext cx="1113044" cy="483397"/>
          </a:xfrm>
          <a:prstGeom prst="rightArrow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50%</a:t>
            </a:r>
          </a:p>
        </p:txBody>
      </p:sp>
      <p:sp>
        <p:nvSpPr>
          <p:cNvPr id="38" name="Прямоугольник с двумя скругленными противолежащими углами 37"/>
          <p:cNvSpPr/>
          <p:nvPr/>
        </p:nvSpPr>
        <p:spPr bwMode="auto">
          <a:xfrm>
            <a:off x="1763688" y="3284984"/>
            <a:ext cx="1512168" cy="432048"/>
          </a:xfrm>
          <a:prstGeom prst="round2DiagRect">
            <a:avLst/>
          </a:prstGeom>
          <a:solidFill>
            <a:srgbClr val="FFFF00"/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99 чел. </a:t>
            </a:r>
            <a:r>
              <a:rPr lang="ru-RU" sz="1100" b="1" dirty="0" smtClean="0">
                <a:solidFill>
                  <a:schemeClr val="tx1"/>
                </a:solidFill>
              </a:rPr>
              <a:t>– УЗ</a:t>
            </a:r>
          </a:p>
          <a:p>
            <a:pPr algn="ctr"/>
            <a:r>
              <a:rPr lang="ru-RU" sz="1100" b="1" dirty="0" smtClean="0">
                <a:solidFill>
                  <a:schemeClr val="tx1"/>
                </a:solidFill>
              </a:rPr>
              <a:t>другого города </a:t>
            </a:r>
          </a:p>
        </p:txBody>
      </p:sp>
      <p:sp>
        <p:nvSpPr>
          <p:cNvPr id="114704" name="Rectangle 23"/>
          <p:cNvSpPr>
            <a:spLocks noChangeArrowheads="1"/>
          </p:cNvSpPr>
          <p:nvPr/>
        </p:nvSpPr>
        <p:spPr bwMode="auto">
          <a:xfrm>
            <a:off x="971600" y="2060848"/>
            <a:ext cx="1384798" cy="576262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rgbClr val="FF0000"/>
                </a:solidFill>
              </a:rPr>
              <a:t>9 класс  </a:t>
            </a:r>
          </a:p>
          <a:p>
            <a:pPr algn="ctr">
              <a:defRPr/>
            </a:pPr>
            <a:r>
              <a:rPr lang="ru-RU" b="1" dirty="0" smtClean="0">
                <a:solidFill>
                  <a:srgbClr val="000099"/>
                </a:solidFill>
                <a:latin typeface="Arial Black" pitchFamily="34" charset="0"/>
              </a:rPr>
              <a:t>470</a:t>
            </a:r>
            <a:r>
              <a:rPr lang="ru-RU" b="1" dirty="0" smtClean="0">
                <a:solidFill>
                  <a:srgbClr val="000099"/>
                </a:solidFill>
              </a:rPr>
              <a:t> </a:t>
            </a:r>
            <a:r>
              <a:rPr lang="ru-RU" b="1" dirty="0">
                <a:solidFill>
                  <a:srgbClr val="000099"/>
                </a:solidFill>
              </a:rPr>
              <a:t>чел</a:t>
            </a:r>
            <a:endParaRPr lang="ru-RU" sz="2800" b="1" dirty="0">
              <a:solidFill>
                <a:srgbClr val="000099"/>
              </a:solidFill>
            </a:endParaRPr>
          </a:p>
        </p:txBody>
      </p:sp>
      <p:sp>
        <p:nvSpPr>
          <p:cNvPr id="46" name="Номер слайда 45"/>
          <p:cNvSpPr>
            <a:spLocks noGrp="1"/>
          </p:cNvSpPr>
          <p:nvPr>
            <p:ph type="sldNum" sz="quarter" idx="12"/>
          </p:nvPr>
        </p:nvSpPr>
        <p:spPr>
          <a:xfrm>
            <a:off x="6876256" y="6237312"/>
            <a:ext cx="1981200" cy="365760"/>
          </a:xfrm>
        </p:spPr>
        <p:txBody>
          <a:bodyPr/>
          <a:lstStyle/>
          <a:p>
            <a:pPr algn="r"/>
            <a:fld id="{5E27532D-B104-45FA-A767-9A6F113EE23C}" type="slidenum">
              <a:rPr lang="ru-RU" smtClean="0">
                <a:solidFill>
                  <a:schemeClr val="tx1"/>
                </a:solidFill>
              </a:rPr>
              <a:pPr algn="r"/>
              <a:t>14</a:t>
            </a:fld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24299"/>
            <a:ext cx="7632848" cy="738664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роприятия Программы сетевого </a:t>
            </a:r>
            <a:b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заимодействия </a:t>
            </a:r>
            <a:r>
              <a:rPr lang="ru-RU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 ВЛИЯЮТ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endParaRPr lang="ru-RU" sz="2000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323528" y="1052736"/>
            <a:ext cx="828092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НА ПОВЫШЕНИЕ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 КАЧЕСТВА ОБРАЗОВАНИЯ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323528" y="1556792"/>
            <a:ext cx="8280920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НА ФОРМИРОВАНИЕ КОНТИНГЕНТА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 ПРОФЕССИОНАЛЬНЫХ УЧЕБНЫХ ЗАВЕДЕНИЙ (КОЛЛЕДЖ, ФИЛИАЛ </a:t>
            </a:r>
            <a:r>
              <a:rPr kumimoji="0" lang="ru-RU" sz="2000" b="1" i="0" u="none" strike="noStrike" kern="1200" cap="none" spc="0" normalizeH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УрФУ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)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9439" y="236434"/>
            <a:ext cx="7982031" cy="443198"/>
          </a:xfrm>
        </p:spPr>
        <p:txBody>
          <a:bodyPr/>
          <a:lstStyle/>
          <a:p>
            <a:r>
              <a:rPr lang="ru-RU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ль программы</a:t>
            </a:r>
            <a:endParaRPr lang="ru-RU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9633" name="Rectangle 1"/>
          <p:cNvSpPr>
            <a:spLocks noChangeArrowheads="1"/>
          </p:cNvSpPr>
          <p:nvPr/>
        </p:nvSpPr>
        <p:spPr bwMode="auto">
          <a:xfrm>
            <a:off x="251520" y="1020304"/>
            <a:ext cx="8424936" cy="4247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168275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Times New Roman" pitchFamily="18" charset="0"/>
              </a:rPr>
              <a:t>Создание условий для развития у обучающихся ВСГО интереса к сфере политехнического образования, развития инженерно-проективного мышления, формирования навыков конструирования, моделирования технологических процессов; мотивации к осознанному выбору инженерно-технических и рабочих профессий в соответствии с ситуацией на рынке труда и собственными индивидуальными возможностями;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Times New Roman" pitchFamily="18" charset="0"/>
              <a:cs typeface="Arial" pitchFamily="34" charset="0"/>
            </a:endParaRPr>
          </a:p>
          <a:p>
            <a:pPr marL="0" marR="0" lvl="0" indent="168275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Закрепление молодежи на территории ВСГО через реализацию механизмов целевой подготовки по востребованным рабочим и инженерным профессиям в образовательных учреждениях среднего профессионального и высшего образования, находящихся на территории города</a:t>
            </a:r>
            <a:r>
              <a:rPr lang="ru-RU" dirty="0" smtClean="0">
                <a:latin typeface="+mj-lt"/>
                <a:cs typeface="Arial" pitchFamily="34" charset="0"/>
              </a:rPr>
              <a:t>. 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pic>
        <p:nvPicPr>
          <p:cNvPr id="4" name="Рисунок 3" descr="pngegg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04" y="1196752"/>
            <a:ext cx="356235" cy="356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 descr="pngegg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04" y="3645024"/>
            <a:ext cx="356235" cy="356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9439" y="236434"/>
            <a:ext cx="7982031" cy="443198"/>
          </a:xfrm>
        </p:spPr>
        <p:txBody>
          <a:bodyPr/>
          <a:lstStyle/>
          <a:p>
            <a:r>
              <a:rPr lang="ru-RU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частники программы </a:t>
            </a:r>
            <a:endParaRPr lang="ru-RU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3" name="Диаграмма 2"/>
          <p:cNvGraphicFramePr/>
          <p:nvPr/>
        </p:nvGraphicFramePr>
        <p:xfrm>
          <a:off x="1043608" y="1628800"/>
          <a:ext cx="7272808" cy="2880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нструкт программы</a:t>
            </a:r>
            <a:endParaRPr lang="ru-RU" dirty="0"/>
          </a:p>
        </p:txBody>
      </p:sp>
      <p:graphicFrame>
        <p:nvGraphicFramePr>
          <p:cNvPr id="3" name="Схема 2"/>
          <p:cNvGraphicFramePr/>
          <p:nvPr/>
        </p:nvGraphicFramePr>
        <p:xfrm>
          <a:off x="323528" y="764704"/>
          <a:ext cx="813690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Рисунок 3" descr="—Pngtree—school building university building icon_5069181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27584" y="2564904"/>
            <a:ext cx="360000" cy="360000"/>
          </a:xfrm>
          <a:prstGeom prst="rect">
            <a:avLst/>
          </a:prstGeom>
        </p:spPr>
      </p:pic>
      <p:pic>
        <p:nvPicPr>
          <p:cNvPr id="5" name="Рисунок 4" descr="pngegg (1)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971600" y="4005064"/>
            <a:ext cx="360000" cy="360000"/>
          </a:xfrm>
          <a:prstGeom prst="rect">
            <a:avLst/>
          </a:prstGeom>
        </p:spPr>
      </p:pic>
      <p:pic>
        <p:nvPicPr>
          <p:cNvPr id="6" name="Рисунок 5" descr="2324013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99592" y="5517232"/>
            <a:ext cx="360000" cy="324141"/>
          </a:xfrm>
          <a:prstGeom prst="rect">
            <a:avLst/>
          </a:prstGeom>
        </p:spPr>
      </p:pic>
      <p:sp>
        <p:nvSpPr>
          <p:cNvPr id="7" name="Штриховая стрелка вправо 6"/>
          <p:cNvSpPr/>
          <p:nvPr/>
        </p:nvSpPr>
        <p:spPr>
          <a:xfrm>
            <a:off x="2843808" y="2564904"/>
            <a:ext cx="432048" cy="432048"/>
          </a:xfrm>
          <a:prstGeom prst="stripedRightArrow">
            <a:avLst>
              <a:gd name="adj1" fmla="val 74899"/>
              <a:gd name="adj2" fmla="val 50000"/>
            </a:avLst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ru-RU" sz="1200" dirty="0" smtClean="0">
              <a:solidFill>
                <a:schemeClr val="bg1"/>
              </a:solidFill>
            </a:endParaRPr>
          </a:p>
        </p:txBody>
      </p:sp>
      <p:sp>
        <p:nvSpPr>
          <p:cNvPr id="8" name="Штриховая стрелка вправо 7"/>
          <p:cNvSpPr/>
          <p:nvPr/>
        </p:nvSpPr>
        <p:spPr>
          <a:xfrm>
            <a:off x="2843808" y="4005064"/>
            <a:ext cx="432048" cy="432048"/>
          </a:xfrm>
          <a:prstGeom prst="stripedRightArrow">
            <a:avLst>
              <a:gd name="adj1" fmla="val 74899"/>
              <a:gd name="adj2" fmla="val 50000"/>
            </a:avLst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ru-RU" sz="1200" dirty="0" smtClean="0">
              <a:solidFill>
                <a:schemeClr val="bg1"/>
              </a:solidFill>
            </a:endParaRPr>
          </a:p>
        </p:txBody>
      </p:sp>
      <p:sp>
        <p:nvSpPr>
          <p:cNvPr id="9" name="Штриховая стрелка вправо 8"/>
          <p:cNvSpPr/>
          <p:nvPr/>
        </p:nvSpPr>
        <p:spPr>
          <a:xfrm>
            <a:off x="2843808" y="5373216"/>
            <a:ext cx="432048" cy="432048"/>
          </a:xfrm>
          <a:prstGeom prst="stripedRightArrow">
            <a:avLst>
              <a:gd name="adj1" fmla="val 74899"/>
              <a:gd name="adj2" fmla="val 50000"/>
            </a:avLst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ru-RU" sz="1200" dirty="0" smtClean="0">
              <a:solidFill>
                <a:schemeClr val="bg1"/>
              </a:solidFill>
            </a:endParaRPr>
          </a:p>
        </p:txBody>
      </p:sp>
      <p:sp>
        <p:nvSpPr>
          <p:cNvPr id="10" name="Штриховая стрелка вправо 9"/>
          <p:cNvSpPr/>
          <p:nvPr/>
        </p:nvSpPr>
        <p:spPr>
          <a:xfrm>
            <a:off x="5724128" y="2636912"/>
            <a:ext cx="432048" cy="432048"/>
          </a:xfrm>
          <a:prstGeom prst="stripedRightArrow">
            <a:avLst>
              <a:gd name="adj1" fmla="val 74899"/>
              <a:gd name="adj2" fmla="val 50000"/>
            </a:avLst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ru-RU" sz="1200" dirty="0" smtClean="0">
              <a:solidFill>
                <a:schemeClr val="bg1"/>
              </a:solidFill>
            </a:endParaRPr>
          </a:p>
        </p:txBody>
      </p:sp>
      <p:sp>
        <p:nvSpPr>
          <p:cNvPr id="11" name="Штриховая стрелка вправо 10"/>
          <p:cNvSpPr/>
          <p:nvPr/>
        </p:nvSpPr>
        <p:spPr>
          <a:xfrm>
            <a:off x="5724128" y="4077072"/>
            <a:ext cx="432048" cy="432048"/>
          </a:xfrm>
          <a:prstGeom prst="stripedRightArrow">
            <a:avLst>
              <a:gd name="adj1" fmla="val 74899"/>
              <a:gd name="adj2" fmla="val 50000"/>
            </a:avLst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ru-RU" sz="1200" dirty="0" smtClean="0">
              <a:solidFill>
                <a:schemeClr val="bg1"/>
              </a:solidFill>
            </a:endParaRPr>
          </a:p>
        </p:txBody>
      </p:sp>
      <p:sp>
        <p:nvSpPr>
          <p:cNvPr id="12" name="Штриховая стрелка вправо 11"/>
          <p:cNvSpPr/>
          <p:nvPr/>
        </p:nvSpPr>
        <p:spPr>
          <a:xfrm>
            <a:off x="5796136" y="5445224"/>
            <a:ext cx="432048" cy="432048"/>
          </a:xfrm>
          <a:prstGeom prst="stripedRightArrow">
            <a:avLst>
              <a:gd name="adj1" fmla="val 74899"/>
              <a:gd name="adj2" fmla="val 50000"/>
            </a:avLst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ru-RU" sz="1200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24299"/>
            <a:ext cx="7632848" cy="738664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роприятия Программы сетевого </a:t>
            </a:r>
            <a:b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заимодействия имеют:</a:t>
            </a:r>
            <a:endParaRPr lang="ru-RU" sz="2000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323528" y="1052736"/>
            <a:ext cx="8280920" cy="243143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диагностическую ценность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/>
            </a:r>
            <a:b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</a:b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-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прямую </a:t>
            </a: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профориентационную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 эффективност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/>
            </a:r>
            <a:b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</a:b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- 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общую информативность в сфере профессиональной подготовки и спектра профессиональных задач специалиста рабочей и инженерной специальности Корпорации.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/>
            </a:r>
            <a:b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</a:b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NPK__25_.JPG"/>
          <p:cNvPicPr>
            <a:picLocks noChangeAspect="1"/>
          </p:cNvPicPr>
          <p:nvPr/>
        </p:nvPicPr>
        <p:blipFill>
          <a:blip r:embed="rId2" cstate="print"/>
          <a:srcRect r="13900" b="10466"/>
          <a:stretch>
            <a:fillRect/>
          </a:stretch>
        </p:blipFill>
        <p:spPr>
          <a:xfrm>
            <a:off x="0" y="3573016"/>
            <a:ext cx="4211960" cy="3284984"/>
          </a:xfrm>
          <a:prstGeom prst="rect">
            <a:avLst/>
          </a:prstGeom>
        </p:spPr>
      </p:pic>
      <p:pic>
        <p:nvPicPr>
          <p:cNvPr id="8" name="Рисунок 7" descr="NPK__13_.JPG"/>
          <p:cNvPicPr>
            <a:picLocks noChangeAspect="1"/>
          </p:cNvPicPr>
          <p:nvPr/>
        </p:nvPicPr>
        <p:blipFill>
          <a:blip r:embed="rId3" cstate="print"/>
          <a:srcRect l="19136" r="41121" b="12428"/>
          <a:stretch>
            <a:fillRect/>
          </a:stretch>
        </p:blipFill>
        <p:spPr>
          <a:xfrm>
            <a:off x="7199784" y="3645024"/>
            <a:ext cx="1944216" cy="3212976"/>
          </a:xfrm>
          <a:prstGeom prst="rect">
            <a:avLst/>
          </a:prstGeom>
        </p:spPr>
      </p:pic>
      <p:pic>
        <p:nvPicPr>
          <p:cNvPr id="9" name="Рисунок 8" descr="NPK__22_.JPG"/>
          <p:cNvPicPr>
            <a:picLocks noChangeAspect="1"/>
          </p:cNvPicPr>
          <p:nvPr/>
        </p:nvPicPr>
        <p:blipFill>
          <a:blip r:embed="rId4" cstate="print"/>
          <a:srcRect l="25770" r="8738" b="12428"/>
          <a:stretch>
            <a:fillRect/>
          </a:stretch>
        </p:blipFill>
        <p:spPr>
          <a:xfrm>
            <a:off x="3995936" y="3645024"/>
            <a:ext cx="3203848" cy="3212976"/>
          </a:xfrm>
          <a:prstGeom prst="rect">
            <a:avLst/>
          </a:prstGeom>
        </p:spPr>
      </p:pic>
      <p:pic>
        <p:nvPicPr>
          <p:cNvPr id="11" name="Рисунок 10" descr="NPK__27_.JPG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rightnessContrast bright="23000" contrast="-11000"/>
                    </a14:imgEffect>
                  </a14:imgLayer>
                </a14:imgProps>
              </a:ext>
            </a:extLst>
          </a:blip>
          <a:srcRect t="17664"/>
          <a:stretch>
            <a:fillRect/>
          </a:stretch>
        </p:blipFill>
        <p:spPr>
          <a:xfrm>
            <a:off x="0" y="548680"/>
            <a:ext cx="4891947" cy="3020888"/>
          </a:xfrm>
          <a:prstGeom prst="rect">
            <a:avLst/>
          </a:prstGeom>
        </p:spPr>
      </p:pic>
      <p:pic>
        <p:nvPicPr>
          <p:cNvPr id="7" name="Рисунок 6" descr="NPK__9_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252053" y="548680"/>
            <a:ext cx="4891947" cy="3668960"/>
          </a:xfrm>
          <a:prstGeom prst="rect">
            <a:avLst/>
          </a:prstGeom>
        </p:spPr>
      </p:pic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0" y="560843"/>
            <a:ext cx="9180512" cy="908720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i="1" dirty="0" smtClean="0"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НПК школьников -  формирование навыков  проектной деятельности, </a:t>
            </a:r>
            <a:r>
              <a:rPr lang="ru-RU" b="1" i="1" dirty="0"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 </a:t>
            </a:r>
            <a:endParaRPr lang="ru-RU" b="1" i="1" dirty="0" smtClean="0"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i="1" dirty="0" smtClean="0"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навыков исследователя и презентации ,  </a:t>
            </a:r>
            <a:r>
              <a:rPr lang="ru-RU" b="1" i="1" dirty="0" smtClean="0">
                <a:solidFill>
                  <a:srgbClr val="FF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100 участников</a:t>
            </a:r>
          </a:p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i="1" dirty="0" smtClean="0">
                <a:solidFill>
                  <a:srgbClr val="FF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  -  охват  4 % учащихся 5-11 класс  (корпоративные секции – 1,5%)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6876256" y="6237312"/>
            <a:ext cx="1981200" cy="365760"/>
          </a:xfrm>
          <a:prstGeom prst="rect">
            <a:avLst/>
          </a:prstGeom>
        </p:spPr>
        <p:txBody>
          <a:bodyPr/>
          <a:lstStyle/>
          <a:p>
            <a:pPr algn="r"/>
            <a:fld id="{5E27532D-B104-45FA-A767-9A6F113EE23C}" type="slidenum">
              <a:rPr lang="ru-RU" b="1" smtClean="0">
                <a:solidFill>
                  <a:schemeClr val="bg1"/>
                </a:solidFill>
              </a:rPr>
              <a:pPr algn="r"/>
              <a:t>6</a:t>
            </a:fld>
            <a:endParaRPr lang="ru-RU" b="1" dirty="0">
              <a:solidFill>
                <a:schemeClr val="bg1"/>
              </a:solidFill>
            </a:endParaRPr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xmlns="" val="107706723"/>
              </p:ext>
            </p:extLst>
          </p:nvPr>
        </p:nvGraphicFramePr>
        <p:xfrm>
          <a:off x="2483768" y="2636912"/>
          <a:ext cx="3956209" cy="2388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45232"/>
          </a:xfrm>
          <a:prstGeom prst="rect">
            <a:avLst/>
          </a:prstGeom>
          <a:solidFill>
            <a:srgbClr val="002060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ФОРМА РАБОТЫ СО ШКОЛАМИ: 1. ГОРОДСКИЕ НАУЧНО-ТЕХНИЧЕСКИЕ КОНФЕРЕНЦИ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(ПРОФОРИЕНТАЦИЯ)		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 descr="1430363774_cherchenie-1-vsalderu.jpg"/>
          <p:cNvPicPr>
            <a:picLocks noChangeAspect="1"/>
          </p:cNvPicPr>
          <p:nvPr/>
        </p:nvPicPr>
        <p:blipFill>
          <a:blip r:embed="rId2" cstate="print"/>
          <a:srcRect b="13452"/>
          <a:stretch>
            <a:fillRect/>
          </a:stretch>
        </p:blipFill>
        <p:spPr>
          <a:xfrm>
            <a:off x="0" y="3791158"/>
            <a:ext cx="4711030" cy="3066842"/>
          </a:xfrm>
          <a:prstGeom prst="rect">
            <a:avLst/>
          </a:prstGeom>
        </p:spPr>
      </p:pic>
      <p:pic>
        <p:nvPicPr>
          <p:cNvPr id="10" name="Рисунок 9" descr="0.jpg"/>
          <p:cNvPicPr>
            <a:picLocks noChangeAspect="1"/>
          </p:cNvPicPr>
          <p:nvPr/>
        </p:nvPicPr>
        <p:blipFill>
          <a:blip r:embed="rId3" cstate="print"/>
          <a:srcRect l="6261" t="12965" b="11801"/>
          <a:stretch>
            <a:fillRect/>
          </a:stretch>
        </p:blipFill>
        <p:spPr>
          <a:xfrm>
            <a:off x="4284799" y="3933056"/>
            <a:ext cx="4859201" cy="2924944"/>
          </a:xfrm>
          <a:prstGeom prst="rect">
            <a:avLst/>
          </a:prstGeom>
        </p:spPr>
      </p:pic>
      <p:pic>
        <p:nvPicPr>
          <p:cNvPr id="8" name="Рисунок 7" descr="getImag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663280" y="1325960"/>
            <a:ext cx="6480720" cy="324036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316416" y="6165304"/>
            <a:ext cx="430960" cy="3657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fld id="{5E27532D-B104-45FA-A767-9A6F113EE23C}" type="slidenum">
              <a:rPr lang="ru-RU" b="1" smtClean="0">
                <a:solidFill>
                  <a:schemeClr val="tx1"/>
                </a:solidFill>
              </a:rPr>
              <a:pPr/>
              <a:t>7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5" cstate="print"/>
          <a:srcRect l="34032" t="36047" r="36971" b="32453"/>
          <a:stretch>
            <a:fillRect/>
          </a:stretch>
        </p:blipFill>
        <p:spPr bwMode="auto">
          <a:xfrm>
            <a:off x="21839" y="1351789"/>
            <a:ext cx="4716016" cy="288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-4357" y="618201"/>
            <a:ext cx="9144000" cy="736075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i="1" dirty="0" smtClean="0">
                <a:solidFill>
                  <a:schemeClr val="dk1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Олимпиада по черчению : </a:t>
            </a:r>
            <a:r>
              <a:rPr lang="ru-RU" b="1" i="1" dirty="0" smtClean="0"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практическое применение </a:t>
            </a:r>
            <a:r>
              <a:rPr lang="ru-RU" b="1" i="1" dirty="0" smtClean="0">
                <a:solidFill>
                  <a:schemeClr val="dk1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базовых  инженерных  знаний и навыков.  </a:t>
            </a:r>
            <a:r>
              <a:rPr lang="ru-RU" b="1" i="1" dirty="0" smtClean="0">
                <a:solidFill>
                  <a:srgbClr val="FF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Более 60 участников -  охват 5%  учащихся  8-11 классов </a:t>
            </a: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xmlns="" val="907240438"/>
              </p:ext>
            </p:extLst>
          </p:nvPr>
        </p:nvGraphicFramePr>
        <p:xfrm>
          <a:off x="2663280" y="2774635"/>
          <a:ext cx="3812193" cy="2316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620688"/>
          </a:xfrm>
          <a:prstGeom prst="rect">
            <a:avLst/>
          </a:prstGeom>
          <a:solidFill>
            <a:srgbClr val="002060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ФОРМА РАБОТЫ СО ШКОЛАМИ: 	2. ПРОФИЛЬНЫЕ ОЛИМПИАД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(ПРОФОРИЕНТАЦИЯ)		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/>
          <a:srcRect l="16537" t="6720" r="30543" b="7132"/>
          <a:stretch/>
        </p:blipFill>
        <p:spPr>
          <a:xfrm>
            <a:off x="0" y="489383"/>
            <a:ext cx="3617297" cy="331236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/>
          <a:srcRect l="25042" t="21725" r="2666" b="7241"/>
          <a:stretch/>
        </p:blipFill>
        <p:spPr>
          <a:xfrm>
            <a:off x="0" y="3789040"/>
            <a:ext cx="5503684" cy="3042029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316416" y="6165304"/>
            <a:ext cx="430960" cy="3657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fld id="{5E27532D-B104-45FA-A767-9A6F113EE23C}" type="slidenum">
              <a:rPr lang="ru-RU" b="1" smtClean="0">
                <a:solidFill>
                  <a:schemeClr val="tx1"/>
                </a:solidFill>
              </a:rPr>
              <a:pPr/>
              <a:t>8</a:t>
            </a:fld>
            <a:endParaRPr lang="ru-RU" b="1" dirty="0">
              <a:solidFill>
                <a:schemeClr val="tx1"/>
              </a:solidFill>
            </a:endParaRP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xmlns="" val="3623136298"/>
              </p:ext>
            </p:extLst>
          </p:nvPr>
        </p:nvGraphicFramePr>
        <p:xfrm>
          <a:off x="3615340" y="689010"/>
          <a:ext cx="5530618" cy="2235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print"/>
          <a:srcRect l="22922" t="8987" r="11745" b="7572"/>
          <a:stretch/>
        </p:blipFill>
        <p:spPr>
          <a:xfrm>
            <a:off x="4925489" y="3789040"/>
            <a:ext cx="4218511" cy="3030568"/>
          </a:xfrm>
          <a:prstGeom prst="rect">
            <a:avLst/>
          </a:prstGeom>
        </p:spPr>
      </p:pic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0" y="3024336"/>
            <a:ext cx="9144000" cy="777415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00" b="1" i="1" dirty="0" smtClean="0">
                <a:solidFill>
                  <a:schemeClr val="dk1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Олимпиада по физике «ЭКСПЕРИМЕНТ»  (</a:t>
            </a:r>
            <a:r>
              <a:rPr lang="ru-RU" sz="1700" b="1" i="1" dirty="0" smtClean="0">
                <a:solidFill>
                  <a:srgbClr val="0070C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проводится с 2018 года</a:t>
            </a:r>
            <a:r>
              <a:rPr lang="ru-RU" sz="1700" b="1" i="1" dirty="0" smtClean="0">
                <a:solidFill>
                  <a:schemeClr val="dk1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) : практическое применение теоретических знаний.  </a:t>
            </a:r>
            <a:r>
              <a:rPr lang="ru-RU" sz="1700" b="1" i="1" dirty="0" smtClean="0">
                <a:solidFill>
                  <a:srgbClr val="FF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60 участников -  охват 6%  учащихся  8-10 классов 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620688"/>
          </a:xfrm>
          <a:prstGeom prst="rect">
            <a:avLst/>
          </a:prstGeom>
          <a:solidFill>
            <a:srgbClr val="002060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ФОРМА РАБОТЫ СО ШКОЛАМИ: 	3. ПРОФИЛЬНЫЕ ОЛИМПИАД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(ПРОФОРИЕНТАЦИЯ)		</a:t>
            </a:r>
          </a:p>
        </p:txBody>
      </p:sp>
    </p:spTree>
    <p:extLst>
      <p:ext uri="{BB962C8B-B14F-4D97-AF65-F5344CB8AC3E}">
        <p14:creationId xmlns:p14="http://schemas.microsoft.com/office/powerpoint/2010/main" xmlns="" val="20236001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219" r="14684" b="3839"/>
          <a:stretch/>
        </p:blipFill>
        <p:spPr>
          <a:xfrm>
            <a:off x="0" y="1162562"/>
            <a:ext cx="4544819" cy="410445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/>
          <a:srcRect l="34681" t="12182" r="14180" b="8593"/>
          <a:stretch/>
        </p:blipFill>
        <p:spPr>
          <a:xfrm>
            <a:off x="4086128" y="1162562"/>
            <a:ext cx="5040561" cy="439248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print"/>
          <a:srcRect l="29398" t="13251" r="24454" b="34592"/>
          <a:stretch/>
        </p:blipFill>
        <p:spPr>
          <a:xfrm>
            <a:off x="19109" y="3934060"/>
            <a:ext cx="4599181" cy="292394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316416" y="6165304"/>
            <a:ext cx="430960" cy="3657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fld id="{5E27532D-B104-45FA-A767-9A6F113EE23C}" type="slidenum">
              <a:rPr lang="ru-RU" b="1" smtClean="0">
                <a:solidFill>
                  <a:schemeClr val="tx1"/>
                </a:solidFill>
              </a:rPr>
              <a:pPr/>
              <a:t>9</a:t>
            </a:fld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-17311" y="620688"/>
            <a:ext cx="9144000" cy="720080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b="1" i="1">
                <a:latin typeface="Microsoft YaHei Light" panose="020B0502040204020203" pitchFamily="34" charset="-122"/>
                <a:ea typeface="Microsoft YaHei Light" panose="020B0502040204020203" pitchFamily="34" charset="-122"/>
              </a:defRPr>
            </a:lvl1pPr>
          </a:lstStyle>
          <a:p>
            <a:r>
              <a:rPr lang="ru-RU" sz="1700" dirty="0"/>
              <a:t>Олимпиада по химии «ЭЛЕМЕНТ»  (проводится с 2019 года) : практическое применение теоретических знаний.  </a:t>
            </a:r>
            <a:r>
              <a:rPr lang="ru-RU" sz="1700" dirty="0">
                <a:solidFill>
                  <a:srgbClr val="FF0000"/>
                </a:solidFill>
              </a:rPr>
              <a:t>54 участника -  охват 5%  учащихся  8-10 классов 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print"/>
          <a:srcRect l="29118" t="12564" r="24768" b="27522"/>
          <a:stretch/>
        </p:blipFill>
        <p:spPr>
          <a:xfrm>
            <a:off x="4338665" y="3358806"/>
            <a:ext cx="4788024" cy="3499194"/>
          </a:xfrm>
          <a:prstGeom prst="rect">
            <a:avLst/>
          </a:prstGeom>
        </p:spPr>
      </p:pic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xmlns="" val="344418359"/>
              </p:ext>
            </p:extLst>
          </p:nvPr>
        </p:nvGraphicFramePr>
        <p:xfrm>
          <a:off x="2915816" y="3151816"/>
          <a:ext cx="3635896" cy="2210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620688"/>
          </a:xfrm>
          <a:prstGeom prst="rect">
            <a:avLst/>
          </a:prstGeom>
          <a:solidFill>
            <a:srgbClr val="002060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ФОРМА РАБОТЫ СО ШКОЛАМИ: 	3. ПРОФИЛЬНЫЕ ОЛИМПИАД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(ПРОФОРИЕНТАЦИЯ)		</a:t>
            </a:r>
          </a:p>
        </p:txBody>
      </p:sp>
    </p:spTree>
    <p:extLst>
      <p:ext uri="{BB962C8B-B14F-4D97-AF65-F5344CB8AC3E}">
        <p14:creationId xmlns:p14="http://schemas.microsoft.com/office/powerpoint/2010/main" xmlns="" val="37507947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NyMUYlQROyJIMUzLK4J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VSMPO Grid A4">
  <a:themeElements>
    <a:clrScheme name="Другая 12">
      <a:dk1>
        <a:srgbClr val="273873"/>
      </a:dk1>
      <a:lt1>
        <a:srgbClr val="FFFFFF"/>
      </a:lt1>
      <a:dk2>
        <a:srgbClr val="273873"/>
      </a:dk2>
      <a:lt2>
        <a:srgbClr val="FFFFFF"/>
      </a:lt2>
      <a:accent1>
        <a:srgbClr val="5F6DB3"/>
      </a:accent1>
      <a:accent2>
        <a:srgbClr val="273873"/>
      </a:accent2>
      <a:accent3>
        <a:srgbClr val="273873"/>
      </a:accent3>
      <a:accent4>
        <a:srgbClr val="F04E63"/>
      </a:accent4>
      <a:accent5>
        <a:srgbClr val="808285"/>
      </a:accent5>
      <a:accent6>
        <a:srgbClr val="A4A8D5"/>
      </a:accent6>
      <a:hlink>
        <a:srgbClr val="7F87C2"/>
      </a:hlink>
      <a:folHlink>
        <a:srgbClr val="7F87C2"/>
      </a:folHlink>
    </a:clrScheme>
    <a:fontScheme name="Другая 1">
      <a:majorFont>
        <a:latin typeface="Circe"/>
        <a:ea typeface=""/>
        <a:cs typeface=""/>
      </a:majorFont>
      <a:minorFont>
        <a:latin typeface="Circe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  <a:effectLst>
          <a:outerShdw sx="0" sy="0" rotWithShape="0">
            <a:scrgbClr r="0" g="0" b="0"/>
          </a:outerShdw>
        </a:effectLst>
        <a:extLst>
          <a:ext uri="{53640926-AAD7-44D8-BBD7-CCE9431645EC}">
            <a14:shadowObscured xmlns="" xmlns:a14="http://schemas.microsoft.com/office/drawing/2010/main"/>
          </a:ext>
        </a:extLst>
      </a:spPr>
      <a:bodyPr wrap="square" lIns="0" tIns="0" rIns="0" bIns="0" rtlCol="0" anchor="ctr">
        <a:noAutofit/>
      </a:bodyPr>
      <a:lstStyle>
        <a:defPPr algn="ctr">
          <a:defRPr sz="1000" dirty="0" smtClean="0">
            <a:effectLst/>
            <a:latin typeface="Trebuchet MS" panose="020B0603020202020204" pitchFamily="34" charset="0"/>
            <a:cs typeface="Calibri" panose="020F0502020204030204" pitchFamily="34" charset="0"/>
            <a:sym typeface="Trebuchet MS" panose="020B0603020202020204" pitchFamily="34" charset="0"/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A4.potx" id="{FD128D5F-54C9-4660-96FD-399E95DF928D}" vid="{7EF5A221-22E9-434F-9846-7D43FE1E807C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УПК 03_09_2021</Template>
  <TotalTime>648</TotalTime>
  <Words>720</Words>
  <Application>Microsoft Office PowerPoint</Application>
  <PresentationFormat>Экран (4:3)</PresentationFormat>
  <Paragraphs>140</Paragraphs>
  <Slides>15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5</vt:i4>
      </vt:variant>
    </vt:vector>
  </HeadingPairs>
  <TitlesOfParts>
    <vt:vector size="18" baseType="lpstr">
      <vt:lpstr>VSMPO Grid A4</vt:lpstr>
      <vt:lpstr>Слайд think-cell</vt:lpstr>
      <vt:lpstr>think-cell Slide</vt:lpstr>
      <vt:lpstr>  </vt:lpstr>
      <vt:lpstr>Цель программы</vt:lpstr>
      <vt:lpstr>Участники программы </vt:lpstr>
      <vt:lpstr>Конструкт программы</vt:lpstr>
      <vt:lpstr>Мероприятия Программы сетевого  взаимодействия имеют: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РАСПРЕДЕЛЕНИЕ ВЫПУСКНИКОВ ШКОЛ ПО УРОВНЯМ ОБРАЗОВАНИЯ И ИХ ПОСЛЕДУЮЩЕЕ ТРУДОУСТРОЙСТВО К КРУПНЫМ РАБОТОДАТЕЛЯМ.</vt:lpstr>
      <vt:lpstr>Мероприятия Программы сетевого  взаимодействия НЕ ВЛИЯЮТ: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 </dc:title>
  <dc:creator>user</dc:creator>
  <cp:lastModifiedBy>user</cp:lastModifiedBy>
  <cp:revision>25</cp:revision>
  <dcterms:created xsi:type="dcterms:W3CDTF">2021-09-07T03:09:46Z</dcterms:created>
  <dcterms:modified xsi:type="dcterms:W3CDTF">2021-09-09T03:08:35Z</dcterms:modified>
</cp:coreProperties>
</file>